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6"/>
  </p:notesMasterIdLst>
  <p:handoutMasterIdLst>
    <p:handoutMasterId r:id="rId17"/>
  </p:handoutMasterIdLst>
  <p:sldIdLst>
    <p:sldId id="532" r:id="rId2"/>
    <p:sldId id="533" r:id="rId3"/>
    <p:sldId id="534" r:id="rId4"/>
    <p:sldId id="435" r:id="rId5"/>
    <p:sldId id="464" r:id="rId6"/>
    <p:sldId id="476" r:id="rId7"/>
    <p:sldId id="477" r:id="rId8"/>
    <p:sldId id="478" r:id="rId9"/>
    <p:sldId id="479" r:id="rId10"/>
    <p:sldId id="480" r:id="rId11"/>
    <p:sldId id="482" r:id="rId12"/>
    <p:sldId id="483" r:id="rId13"/>
    <p:sldId id="484" r:id="rId14"/>
    <p:sldId id="547" r:id="rId15"/>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44" autoAdjust="0"/>
    <p:restoredTop sz="80136" autoAdjust="0"/>
  </p:normalViewPr>
  <p:slideViewPr>
    <p:cSldViewPr>
      <p:cViewPr varScale="1">
        <p:scale>
          <a:sx n="101" d="100"/>
          <a:sy n="101" d="100"/>
        </p:scale>
        <p:origin x="1136" y="192"/>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ccessing </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live chat</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notification centre</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3CB6F0BF-076D-9F48-9A46-60028B6FE005}">
      <dgm:prSet/>
      <dgm:spPr/>
      <dgm:t>
        <a:bodyPr/>
        <a:lstStyle/>
        <a:p>
          <a:pPr rtl="0"/>
          <a:r>
            <a:rPr lang="en-CA" dirty="0"/>
            <a:t>online setting</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6306B4F0-0BF6-414D-BBDB-4B362D062134}">
      <dgm:prSet/>
      <dgm:spPr/>
      <dgm:t>
        <a:bodyPr/>
        <a:lstStyle/>
        <a:p>
          <a:pPr rtl="0"/>
          <a:r>
            <a:rPr lang="en-CA" dirty="0"/>
            <a:t>online toolbar</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B44F996A-DA68-7441-A33D-D646ACCF6447}" type="pres">
      <dgm:prSet presAssocID="{02BA0D8E-884F-D545-BFF7-95207C181DAB}" presName="vert0" presStyleCnt="0">
        <dgm:presLayoutVars>
          <dgm:dir/>
          <dgm:animOne val="branch"/>
          <dgm:animLvl val="lvl"/>
        </dgm:presLayoutVars>
      </dgm:prSet>
      <dgm:spPr/>
    </dgm:pt>
    <dgm:pt modelId="{1018BC58-B153-F54E-BC39-402D01D958F5}" type="pres">
      <dgm:prSet presAssocID="{CF0461F7-EC97-BB41-A574-9C1E3009EACC}" presName="thickLine" presStyleLbl="alignNode1" presStyleIdx="0" presStyleCnt="5"/>
      <dgm:spPr/>
    </dgm:pt>
    <dgm:pt modelId="{51F00828-F971-FA40-979E-8C5C5B7EE997}" type="pres">
      <dgm:prSet presAssocID="{CF0461F7-EC97-BB41-A574-9C1E3009EACC}" presName="horz1" presStyleCnt="0"/>
      <dgm:spPr/>
    </dgm:pt>
    <dgm:pt modelId="{7EAA488E-7C8E-A647-A065-21BBF67AE1ED}" type="pres">
      <dgm:prSet presAssocID="{CF0461F7-EC97-BB41-A574-9C1E3009EACC}" presName="tx1" presStyleLbl="revTx" presStyleIdx="0" presStyleCnt="5"/>
      <dgm:spPr/>
    </dgm:pt>
    <dgm:pt modelId="{EB663883-0EAA-F245-A0FD-049D7D0A314E}" type="pres">
      <dgm:prSet presAssocID="{CF0461F7-EC97-BB41-A574-9C1E3009EACC}" presName="vert1" presStyleCnt="0"/>
      <dgm:spPr/>
    </dgm:pt>
    <dgm:pt modelId="{59BF4ACA-F4A7-4B4E-AAF2-38E8E874493D}" type="pres">
      <dgm:prSet presAssocID="{6306B4F0-0BF6-414D-BBDB-4B362D062134}" presName="thickLine" presStyleLbl="alignNode1" presStyleIdx="1" presStyleCnt="5"/>
      <dgm:spPr/>
    </dgm:pt>
    <dgm:pt modelId="{506CDCB7-76E4-1F47-ABD6-006F4E2ADCE3}" type="pres">
      <dgm:prSet presAssocID="{6306B4F0-0BF6-414D-BBDB-4B362D062134}" presName="horz1" presStyleCnt="0"/>
      <dgm:spPr/>
    </dgm:pt>
    <dgm:pt modelId="{B276E09A-6BF8-944F-ADC3-960104B59052}" type="pres">
      <dgm:prSet presAssocID="{6306B4F0-0BF6-414D-BBDB-4B362D062134}" presName="tx1" presStyleLbl="revTx" presStyleIdx="1" presStyleCnt="5"/>
      <dgm:spPr/>
    </dgm:pt>
    <dgm:pt modelId="{5B9738FF-1B7F-734F-ACED-499A7C1FA59F}" type="pres">
      <dgm:prSet presAssocID="{6306B4F0-0BF6-414D-BBDB-4B362D062134}" presName="vert1" presStyleCnt="0"/>
      <dgm:spPr/>
    </dgm:pt>
    <dgm:pt modelId="{56129CF7-A647-D540-A775-2E3803071A68}" type="pres">
      <dgm:prSet presAssocID="{C8A9BCB3-602F-FC4A-9626-FAF506510228}" presName="thickLine" presStyleLbl="alignNode1" presStyleIdx="2" presStyleCnt="5"/>
      <dgm:spPr/>
    </dgm:pt>
    <dgm:pt modelId="{320ECA4D-7E14-024E-801C-7E90B801DE6A}" type="pres">
      <dgm:prSet presAssocID="{C8A9BCB3-602F-FC4A-9626-FAF506510228}" presName="horz1" presStyleCnt="0"/>
      <dgm:spPr/>
    </dgm:pt>
    <dgm:pt modelId="{66BFE93F-8974-FE4C-B83A-D03EAAA864DB}" type="pres">
      <dgm:prSet presAssocID="{C8A9BCB3-602F-FC4A-9626-FAF506510228}" presName="tx1" presStyleLbl="revTx" presStyleIdx="2" presStyleCnt="5"/>
      <dgm:spPr/>
    </dgm:pt>
    <dgm:pt modelId="{6BBC4B8A-154B-0548-B545-B7BAB3271ECC}" type="pres">
      <dgm:prSet presAssocID="{C8A9BCB3-602F-FC4A-9626-FAF506510228}" presName="vert1" presStyleCnt="0"/>
      <dgm:spPr/>
    </dgm:pt>
    <dgm:pt modelId="{DFA84CE4-BBB6-4146-A68F-78235E11CB6A}" type="pres">
      <dgm:prSet presAssocID="{963218B0-03E7-B248-BDE4-426021B288BE}" presName="thickLine" presStyleLbl="alignNode1" presStyleIdx="3" presStyleCnt="5"/>
      <dgm:spPr/>
    </dgm:pt>
    <dgm:pt modelId="{E3BDD991-9B76-7448-BFCA-D94D433BC11F}" type="pres">
      <dgm:prSet presAssocID="{963218B0-03E7-B248-BDE4-426021B288BE}" presName="horz1" presStyleCnt="0"/>
      <dgm:spPr/>
    </dgm:pt>
    <dgm:pt modelId="{A81FE752-7EAE-894E-80EF-F8C49917CDA9}" type="pres">
      <dgm:prSet presAssocID="{963218B0-03E7-B248-BDE4-426021B288BE}" presName="tx1" presStyleLbl="revTx" presStyleIdx="3" presStyleCnt="5"/>
      <dgm:spPr/>
    </dgm:pt>
    <dgm:pt modelId="{9D749CFB-036D-434F-AD97-A4B6AA524B5E}" type="pres">
      <dgm:prSet presAssocID="{963218B0-03E7-B248-BDE4-426021B288BE}" presName="vert1" presStyleCnt="0"/>
      <dgm:spPr/>
    </dgm:pt>
    <dgm:pt modelId="{037FEEB9-F06D-7B43-8599-EABF92411AE1}" type="pres">
      <dgm:prSet presAssocID="{3CB6F0BF-076D-9F48-9A46-60028B6FE005}" presName="thickLine" presStyleLbl="alignNode1" presStyleIdx="4" presStyleCnt="5"/>
      <dgm:spPr/>
    </dgm:pt>
    <dgm:pt modelId="{12E95C16-F622-9645-A242-F77A29561F12}" type="pres">
      <dgm:prSet presAssocID="{3CB6F0BF-076D-9F48-9A46-60028B6FE005}" presName="horz1" presStyleCnt="0"/>
      <dgm:spPr/>
    </dgm:pt>
    <dgm:pt modelId="{6D6EBB09-889D-6A43-A177-12793FAC1E1D}" type="pres">
      <dgm:prSet presAssocID="{3CB6F0BF-076D-9F48-9A46-60028B6FE005}" presName="tx1" presStyleLbl="revTx" presStyleIdx="4" presStyleCnt="5"/>
      <dgm:spPr/>
    </dgm:pt>
    <dgm:pt modelId="{C46FFCC9-9F1F-A549-BAF5-653EAE11C35E}" type="pres">
      <dgm:prSet presAssocID="{3CB6F0BF-076D-9F48-9A46-60028B6FE005}" presName="vert1" presStyleCnt="0"/>
      <dgm:spPr/>
    </dgm:pt>
  </dgm:ptLst>
  <dgm:cxnLst>
    <dgm:cxn modelId="{C5848D0B-5FD4-F24C-8859-2A2FE4A00863}" srcId="{02BA0D8E-884F-D545-BFF7-95207C181DAB}" destId="{3CB6F0BF-076D-9F48-9A46-60028B6FE005}" srcOrd="4" destOrd="0" parTransId="{63DF646F-8161-E746-81DE-E736BB880F3B}" sibTransId="{02B95B21-F90C-F54E-8161-72E219C98A93}"/>
    <dgm:cxn modelId="{F33AA813-3CFE-EA41-958F-FBF14960AF69}" type="presOf" srcId="{963218B0-03E7-B248-BDE4-426021B288BE}" destId="{A81FE752-7EAE-894E-80EF-F8C49917CDA9}" srcOrd="0" destOrd="0" presId="urn:microsoft.com/office/officeart/2008/layout/LinedList"/>
    <dgm:cxn modelId="{9D8CFB55-E7B4-D640-9219-71F9564CB383}" type="presOf" srcId="{3CB6F0BF-076D-9F48-9A46-60028B6FE005}" destId="{6D6EBB09-889D-6A43-A177-12793FAC1E1D}" srcOrd="0" destOrd="0" presId="urn:microsoft.com/office/officeart/2008/layout/LinedList"/>
    <dgm:cxn modelId="{712BC364-7900-994F-AAE7-E8F459A67C59}" srcId="{02BA0D8E-884F-D545-BFF7-95207C181DAB}" destId="{963218B0-03E7-B248-BDE4-426021B288BE}" srcOrd="3"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C54FECA7-1F42-9F44-BAB1-F1E104B645F8}" type="presOf" srcId="{6306B4F0-0BF6-414D-BBDB-4B362D062134}" destId="{B276E09A-6BF8-944F-ADC3-960104B59052}" srcOrd="0" destOrd="0" presId="urn:microsoft.com/office/officeart/2008/layout/LinedList"/>
    <dgm:cxn modelId="{7E26C5B7-29A8-A145-B57F-B7069D3219B6}" type="presOf" srcId="{C8A9BCB3-602F-FC4A-9626-FAF506510228}" destId="{66BFE93F-8974-FE4C-B83A-D03EAAA864DB}" srcOrd="0" destOrd="0" presId="urn:microsoft.com/office/officeart/2008/layout/LinedList"/>
    <dgm:cxn modelId="{56EF0DD2-1AD6-AC4D-8684-479C4202D190}" srcId="{02BA0D8E-884F-D545-BFF7-95207C181DAB}" destId="{C8A9BCB3-602F-FC4A-9626-FAF506510228}" srcOrd="2" destOrd="0" parTransId="{0B803AD3-6C2C-FE47-9803-37C40BE4582E}" sibTransId="{8C959BF5-5ADE-2F4A-B433-E7E671FD26BE}"/>
    <dgm:cxn modelId="{04D667D6-88F2-9C43-89F5-E31C711C0AE1}" srcId="{02BA0D8E-884F-D545-BFF7-95207C181DAB}" destId="{6306B4F0-0BF6-414D-BBDB-4B362D062134}" srcOrd="1" destOrd="0" parTransId="{63095D2F-B22F-CE4B-A169-B400C8581FF5}" sibTransId="{F9D809FD-42E8-3C46-AA5B-C0252A438BDB}"/>
    <dgm:cxn modelId="{4F67E9E4-B3CF-6A4E-BC57-057AD6CA3DD2}" type="presOf" srcId="{CF0461F7-EC97-BB41-A574-9C1E3009EACC}" destId="{7EAA488E-7C8E-A647-A065-21BBF67AE1ED}" srcOrd="0" destOrd="0" presId="urn:microsoft.com/office/officeart/2008/layout/LinedList"/>
    <dgm:cxn modelId="{609CB8EE-2388-D14D-AD6E-E2566C6E6625}" type="presOf" srcId="{02BA0D8E-884F-D545-BFF7-95207C181DAB}" destId="{B44F996A-DA68-7441-A33D-D646ACCF6447}" srcOrd="0" destOrd="0" presId="urn:microsoft.com/office/officeart/2008/layout/LinedList"/>
    <dgm:cxn modelId="{A5F9B7F8-4D9B-7947-B2CC-2B5965A611EA}" type="presParOf" srcId="{B44F996A-DA68-7441-A33D-D646ACCF6447}" destId="{1018BC58-B153-F54E-BC39-402D01D958F5}" srcOrd="0" destOrd="0" presId="urn:microsoft.com/office/officeart/2008/layout/LinedList"/>
    <dgm:cxn modelId="{DCECE654-CAB8-7345-803E-0B43BDD20E4F}" type="presParOf" srcId="{B44F996A-DA68-7441-A33D-D646ACCF6447}" destId="{51F00828-F971-FA40-979E-8C5C5B7EE997}" srcOrd="1" destOrd="0" presId="urn:microsoft.com/office/officeart/2008/layout/LinedList"/>
    <dgm:cxn modelId="{DCCFBDDD-B853-F540-96DA-0A94BD0454AA}" type="presParOf" srcId="{51F00828-F971-FA40-979E-8C5C5B7EE997}" destId="{7EAA488E-7C8E-A647-A065-21BBF67AE1ED}" srcOrd="0" destOrd="0" presId="urn:microsoft.com/office/officeart/2008/layout/LinedList"/>
    <dgm:cxn modelId="{7706E932-C55B-ED4D-8665-F0EB015C8755}" type="presParOf" srcId="{51F00828-F971-FA40-979E-8C5C5B7EE997}" destId="{EB663883-0EAA-F245-A0FD-049D7D0A314E}" srcOrd="1" destOrd="0" presId="urn:microsoft.com/office/officeart/2008/layout/LinedList"/>
    <dgm:cxn modelId="{EB6465E6-AE7A-1C45-B91D-444E4AB1090D}" type="presParOf" srcId="{B44F996A-DA68-7441-A33D-D646ACCF6447}" destId="{59BF4ACA-F4A7-4B4E-AAF2-38E8E874493D}" srcOrd="2" destOrd="0" presId="urn:microsoft.com/office/officeart/2008/layout/LinedList"/>
    <dgm:cxn modelId="{1A2D82CF-A71B-A94D-A949-7FB2F360C00F}" type="presParOf" srcId="{B44F996A-DA68-7441-A33D-D646ACCF6447}" destId="{506CDCB7-76E4-1F47-ABD6-006F4E2ADCE3}" srcOrd="3" destOrd="0" presId="urn:microsoft.com/office/officeart/2008/layout/LinedList"/>
    <dgm:cxn modelId="{AC4AF10E-7B6F-6E4F-BD09-EFAD8772D173}" type="presParOf" srcId="{506CDCB7-76E4-1F47-ABD6-006F4E2ADCE3}" destId="{B276E09A-6BF8-944F-ADC3-960104B59052}" srcOrd="0" destOrd="0" presId="urn:microsoft.com/office/officeart/2008/layout/LinedList"/>
    <dgm:cxn modelId="{4078FF84-BAFC-E64A-8CE9-A9F2629462FF}" type="presParOf" srcId="{506CDCB7-76E4-1F47-ABD6-006F4E2ADCE3}" destId="{5B9738FF-1B7F-734F-ACED-499A7C1FA59F}" srcOrd="1" destOrd="0" presId="urn:microsoft.com/office/officeart/2008/layout/LinedList"/>
    <dgm:cxn modelId="{B0C92401-A920-0243-B7DE-34DE856EC5AF}" type="presParOf" srcId="{B44F996A-DA68-7441-A33D-D646ACCF6447}" destId="{56129CF7-A647-D540-A775-2E3803071A68}" srcOrd="4" destOrd="0" presId="urn:microsoft.com/office/officeart/2008/layout/LinedList"/>
    <dgm:cxn modelId="{467C5F6F-0F53-0D40-833D-6926DF102B3B}" type="presParOf" srcId="{B44F996A-DA68-7441-A33D-D646ACCF6447}" destId="{320ECA4D-7E14-024E-801C-7E90B801DE6A}" srcOrd="5" destOrd="0" presId="urn:microsoft.com/office/officeart/2008/layout/LinedList"/>
    <dgm:cxn modelId="{5EA430B7-5BC2-5043-A56A-205EA3FC6CB3}" type="presParOf" srcId="{320ECA4D-7E14-024E-801C-7E90B801DE6A}" destId="{66BFE93F-8974-FE4C-B83A-D03EAAA864DB}" srcOrd="0" destOrd="0" presId="urn:microsoft.com/office/officeart/2008/layout/LinedList"/>
    <dgm:cxn modelId="{6C7AF2CA-C1CB-0C4F-9939-BB4D981537C6}" type="presParOf" srcId="{320ECA4D-7E14-024E-801C-7E90B801DE6A}" destId="{6BBC4B8A-154B-0548-B545-B7BAB3271ECC}" srcOrd="1" destOrd="0" presId="urn:microsoft.com/office/officeart/2008/layout/LinedList"/>
    <dgm:cxn modelId="{0C0EE0D7-D4B9-4847-B270-D9D731F1CD49}" type="presParOf" srcId="{B44F996A-DA68-7441-A33D-D646ACCF6447}" destId="{DFA84CE4-BBB6-4146-A68F-78235E11CB6A}" srcOrd="6" destOrd="0" presId="urn:microsoft.com/office/officeart/2008/layout/LinedList"/>
    <dgm:cxn modelId="{3CD60C8A-4059-F144-BCDD-ADC260F4A8D7}" type="presParOf" srcId="{B44F996A-DA68-7441-A33D-D646ACCF6447}" destId="{E3BDD991-9B76-7448-BFCA-D94D433BC11F}" srcOrd="7" destOrd="0" presId="urn:microsoft.com/office/officeart/2008/layout/LinedList"/>
    <dgm:cxn modelId="{812096C5-47E5-A543-B5E7-B86963B8E3F0}" type="presParOf" srcId="{E3BDD991-9B76-7448-BFCA-D94D433BC11F}" destId="{A81FE752-7EAE-894E-80EF-F8C49917CDA9}" srcOrd="0" destOrd="0" presId="urn:microsoft.com/office/officeart/2008/layout/LinedList"/>
    <dgm:cxn modelId="{C3425020-CBE9-8648-8396-DE9FE81F6709}" type="presParOf" srcId="{E3BDD991-9B76-7448-BFCA-D94D433BC11F}" destId="{9D749CFB-036D-434F-AD97-A4B6AA524B5E}" srcOrd="1" destOrd="0" presId="urn:microsoft.com/office/officeart/2008/layout/LinedList"/>
    <dgm:cxn modelId="{B9C25B1B-890C-5948-9D27-D4972E6ED8C9}" type="presParOf" srcId="{B44F996A-DA68-7441-A33D-D646ACCF6447}" destId="{037FEEB9-F06D-7B43-8599-EABF92411AE1}" srcOrd="8" destOrd="0" presId="urn:microsoft.com/office/officeart/2008/layout/LinedList"/>
    <dgm:cxn modelId="{CCC38369-3161-9643-B6DC-F10A225D6E9E}" type="presParOf" srcId="{B44F996A-DA68-7441-A33D-D646ACCF6447}" destId="{12E95C16-F622-9645-A242-F77A29561F12}" srcOrd="9" destOrd="0" presId="urn:microsoft.com/office/officeart/2008/layout/LinedList"/>
    <dgm:cxn modelId="{F491E684-ACAE-DB46-921A-A966E544B474}" type="presParOf" srcId="{12E95C16-F622-9645-A242-F77A29561F12}" destId="{6D6EBB09-889D-6A43-A177-12793FAC1E1D}" srcOrd="0" destOrd="0" presId="urn:microsoft.com/office/officeart/2008/layout/LinedList"/>
    <dgm:cxn modelId="{37DCB8CB-AC94-654C-BA0B-CDEDF36039B8}" type="presParOf" srcId="{12E95C16-F622-9645-A242-F77A29561F12}" destId="{C46FFCC9-9F1F-A549-BAF5-653EAE11C35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5</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839AB704-AA94-614B-8BA9-D1C4316D8A16}" type="presOf" srcId="{44F371D9-EE28-43D3-A86D-541CB7E51DB8}" destId="{834CDD0F-2A72-40E4-9F5C-254C6DC50A0F}" srcOrd="0" destOrd="0" presId="urn:microsoft.com/office/officeart/2005/8/layout/venn1"/>
    <dgm:cxn modelId="{6C481E9E-7792-CE4C-AE71-1DC9B763FEA4}"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D953C3F2-C105-D240-ACB5-10CB43CC8684}"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5-9</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E1E52B7D-FD24-4F44-8D08-01F4B9E4BBEF}" type="presOf" srcId="{C2945230-8A03-49C4-AE11-508590DB7B8B}" destId="{DDF5C611-4A57-4D32-BF4D-AD972F42154B}" srcOrd="0" destOrd="0" presId="urn:microsoft.com/office/officeart/2005/8/layout/venn1"/>
    <dgm:cxn modelId="{FA4294A2-08DB-134C-ABAA-9B5FD2160271}"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683884FD-B0CF-194A-8601-FAA97865DA00}"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What is it?</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Signed </a:t>
          </a:r>
          <a:r>
            <a:rPr lang="en-CA" i="1" dirty="0"/>
            <a:t>Authorize a Rep</a:t>
          </a:r>
          <a:endParaRPr lang="en-CA" dirty="0"/>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6306B4F0-0BF6-414D-BBDB-4B362D062134}">
      <dgm:prSet/>
      <dgm:spPr/>
      <dgm:t>
        <a:bodyPr/>
        <a:lstStyle/>
        <a:p>
          <a:pPr rtl="0"/>
          <a:r>
            <a:rPr lang="en-CA" dirty="0"/>
            <a:t>What's required? </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702E368A-2D18-8F4A-9D13-AFF7DB4DFA01}">
      <dgm:prSet/>
      <dgm:spPr/>
      <dgm:t>
        <a:bodyPr/>
        <a:lstStyle/>
        <a:p>
          <a:pPr rtl="0"/>
          <a:r>
            <a:rPr lang="en-CA" dirty="0"/>
            <a:t>Auto-populate tax fields from </a:t>
          </a:r>
          <a:r>
            <a:rPr lang="en-CA"/>
            <a:t>CRA  site</a:t>
          </a:r>
          <a:endParaRPr lang="en-CA" dirty="0"/>
        </a:p>
      </dgm:t>
    </dgm:pt>
    <dgm:pt modelId="{2B1F21B4-E24E-B44F-8A13-949B0DE8FBCD}" type="parTrans" cxnId="{2EB435A6-0471-5242-9CB4-09352AD6CEA6}">
      <dgm:prSet/>
      <dgm:spPr/>
      <dgm:t>
        <a:bodyPr/>
        <a:lstStyle/>
        <a:p>
          <a:endParaRPr lang="en-CA"/>
        </a:p>
      </dgm:t>
    </dgm:pt>
    <dgm:pt modelId="{1CB74CA6-63F3-594D-8764-8E686D1608D9}" type="sibTrans" cxnId="{2EB435A6-0471-5242-9CB4-09352AD6CEA6}">
      <dgm:prSet/>
      <dgm:spPr/>
      <dgm:t>
        <a:bodyPr/>
        <a:lstStyle/>
        <a:p>
          <a:endParaRPr lang="en-CA"/>
        </a:p>
      </dgm:t>
    </dgm:pt>
    <dgm:pt modelId="{791AD30B-689C-AD4A-9B67-DACD83A4D7E5}">
      <dgm:prSet/>
      <dgm:spPr/>
      <dgm:t>
        <a:bodyPr/>
        <a:lstStyle/>
        <a:p>
          <a:pPr rtl="0"/>
          <a:r>
            <a:rPr lang="en-CA" dirty="0"/>
            <a:t>Rep a client access</a:t>
          </a:r>
        </a:p>
      </dgm:t>
    </dgm:pt>
    <dgm:pt modelId="{6576B5F8-AFF8-8140-999A-6AFBA8E11A8F}" type="parTrans" cxnId="{D28EF535-F51A-4747-BCD3-4CFAAA47ADC2}">
      <dgm:prSet/>
      <dgm:spPr/>
      <dgm:t>
        <a:bodyPr/>
        <a:lstStyle/>
        <a:p>
          <a:endParaRPr lang="en-CA"/>
        </a:p>
      </dgm:t>
    </dgm:pt>
    <dgm:pt modelId="{C429B716-A87A-1045-A6A8-B9614ED373C6}" type="sibTrans" cxnId="{D28EF535-F51A-4747-BCD3-4CFAAA47ADC2}">
      <dgm:prSet/>
      <dgm:spPr/>
      <dgm:t>
        <a:bodyPr/>
        <a:lstStyle/>
        <a:p>
          <a:endParaRPr lang="en-CA"/>
        </a:p>
      </dgm:t>
    </dgm:pt>
    <dgm:pt modelId="{2CD067F7-E2FA-644F-942D-B490F2BEF08C}" type="pres">
      <dgm:prSet presAssocID="{02BA0D8E-884F-D545-BFF7-95207C181DAB}" presName="vert0" presStyleCnt="0">
        <dgm:presLayoutVars>
          <dgm:dir/>
          <dgm:animOne val="branch"/>
          <dgm:animLvl val="lvl"/>
        </dgm:presLayoutVars>
      </dgm:prSet>
      <dgm:spPr/>
    </dgm:pt>
    <dgm:pt modelId="{A907A7DD-0C3F-2447-8179-0322DD759F2B}" type="pres">
      <dgm:prSet presAssocID="{CF0461F7-EC97-BB41-A574-9C1E3009EACC}" presName="thickLine" presStyleLbl="alignNode1" presStyleIdx="0" presStyleCnt="2"/>
      <dgm:spPr/>
    </dgm:pt>
    <dgm:pt modelId="{39C4B6B8-38E9-D74B-A342-90688FBE2400}" type="pres">
      <dgm:prSet presAssocID="{CF0461F7-EC97-BB41-A574-9C1E3009EACC}" presName="horz1" presStyleCnt="0"/>
      <dgm:spPr/>
    </dgm:pt>
    <dgm:pt modelId="{9CFBC554-5A85-F84B-AFF1-8C435488DC7F}" type="pres">
      <dgm:prSet presAssocID="{CF0461F7-EC97-BB41-A574-9C1E3009EACC}" presName="tx1" presStyleLbl="revTx" presStyleIdx="0" presStyleCnt="5"/>
      <dgm:spPr/>
    </dgm:pt>
    <dgm:pt modelId="{A476865F-B783-AC42-B9BA-91329513DE48}" type="pres">
      <dgm:prSet presAssocID="{CF0461F7-EC97-BB41-A574-9C1E3009EACC}" presName="vert1" presStyleCnt="0"/>
      <dgm:spPr/>
    </dgm:pt>
    <dgm:pt modelId="{3497D864-C69B-A94B-9599-1F59A0CFE33E}" type="pres">
      <dgm:prSet presAssocID="{702E368A-2D18-8F4A-9D13-AFF7DB4DFA01}" presName="vertSpace2a" presStyleCnt="0"/>
      <dgm:spPr/>
    </dgm:pt>
    <dgm:pt modelId="{641F4245-F519-9144-BBE1-C932A223C5D5}" type="pres">
      <dgm:prSet presAssocID="{702E368A-2D18-8F4A-9D13-AFF7DB4DFA01}" presName="horz2" presStyleCnt="0"/>
      <dgm:spPr/>
    </dgm:pt>
    <dgm:pt modelId="{7715B116-A197-2B41-B0A0-3922688547BF}" type="pres">
      <dgm:prSet presAssocID="{702E368A-2D18-8F4A-9D13-AFF7DB4DFA01}" presName="horzSpace2" presStyleCnt="0"/>
      <dgm:spPr/>
    </dgm:pt>
    <dgm:pt modelId="{77705F56-1F8B-3C4E-8EE7-A1D664165CBE}" type="pres">
      <dgm:prSet presAssocID="{702E368A-2D18-8F4A-9D13-AFF7DB4DFA01}" presName="tx2" presStyleLbl="revTx" presStyleIdx="1" presStyleCnt="5"/>
      <dgm:spPr/>
    </dgm:pt>
    <dgm:pt modelId="{34DA154C-00AD-714C-A0CE-FB7D588C69D0}" type="pres">
      <dgm:prSet presAssocID="{702E368A-2D18-8F4A-9D13-AFF7DB4DFA01}" presName="vert2" presStyleCnt="0"/>
      <dgm:spPr/>
    </dgm:pt>
    <dgm:pt modelId="{EEB14756-5CD8-6846-BB1E-7D0721E9804F}" type="pres">
      <dgm:prSet presAssocID="{702E368A-2D18-8F4A-9D13-AFF7DB4DFA01}" presName="thinLine2b" presStyleLbl="callout" presStyleIdx="0" presStyleCnt="3"/>
      <dgm:spPr/>
    </dgm:pt>
    <dgm:pt modelId="{A31426A9-1628-E649-97BB-5F100B5C7A00}" type="pres">
      <dgm:prSet presAssocID="{702E368A-2D18-8F4A-9D13-AFF7DB4DFA01}" presName="vertSpace2b" presStyleCnt="0"/>
      <dgm:spPr/>
    </dgm:pt>
    <dgm:pt modelId="{912C66AE-4CDE-E240-8CFE-3107686AA3B9}" type="pres">
      <dgm:prSet presAssocID="{6306B4F0-0BF6-414D-BBDB-4B362D062134}" presName="thickLine" presStyleLbl="alignNode1" presStyleIdx="1" presStyleCnt="2"/>
      <dgm:spPr/>
    </dgm:pt>
    <dgm:pt modelId="{436363C6-C28E-C140-A9BA-CA501C0B0A51}" type="pres">
      <dgm:prSet presAssocID="{6306B4F0-0BF6-414D-BBDB-4B362D062134}" presName="horz1" presStyleCnt="0"/>
      <dgm:spPr/>
    </dgm:pt>
    <dgm:pt modelId="{116647AA-0BB2-D74C-8374-D312115C53FD}" type="pres">
      <dgm:prSet presAssocID="{6306B4F0-0BF6-414D-BBDB-4B362D062134}" presName="tx1" presStyleLbl="revTx" presStyleIdx="2" presStyleCnt="5"/>
      <dgm:spPr/>
    </dgm:pt>
    <dgm:pt modelId="{E7E7DF3C-5125-0449-AC17-5CE0852041BE}" type="pres">
      <dgm:prSet presAssocID="{6306B4F0-0BF6-414D-BBDB-4B362D062134}" presName="vert1" presStyleCnt="0"/>
      <dgm:spPr/>
    </dgm:pt>
    <dgm:pt modelId="{C514C90C-63F8-0B4A-8BCB-4C87D60B53B2}" type="pres">
      <dgm:prSet presAssocID="{791AD30B-689C-AD4A-9B67-DACD83A4D7E5}" presName="vertSpace2a" presStyleCnt="0"/>
      <dgm:spPr/>
    </dgm:pt>
    <dgm:pt modelId="{B2DAB570-0C41-AA43-95D3-BDCE9E12B3FD}" type="pres">
      <dgm:prSet presAssocID="{791AD30B-689C-AD4A-9B67-DACD83A4D7E5}" presName="horz2" presStyleCnt="0"/>
      <dgm:spPr/>
    </dgm:pt>
    <dgm:pt modelId="{ED8DF746-7F8A-174B-BA0F-352019E55466}" type="pres">
      <dgm:prSet presAssocID="{791AD30B-689C-AD4A-9B67-DACD83A4D7E5}" presName="horzSpace2" presStyleCnt="0"/>
      <dgm:spPr/>
    </dgm:pt>
    <dgm:pt modelId="{937AE9EB-113C-EB4C-8FCE-5B0902B3F89E}" type="pres">
      <dgm:prSet presAssocID="{791AD30B-689C-AD4A-9B67-DACD83A4D7E5}" presName="tx2" presStyleLbl="revTx" presStyleIdx="3" presStyleCnt="5"/>
      <dgm:spPr/>
    </dgm:pt>
    <dgm:pt modelId="{D95B0160-DA81-7748-B12F-70CB0FB22B13}" type="pres">
      <dgm:prSet presAssocID="{791AD30B-689C-AD4A-9B67-DACD83A4D7E5}" presName="vert2" presStyleCnt="0"/>
      <dgm:spPr/>
    </dgm:pt>
    <dgm:pt modelId="{ADA0B21C-D0D2-1D46-8348-7231F114A087}" type="pres">
      <dgm:prSet presAssocID="{791AD30B-689C-AD4A-9B67-DACD83A4D7E5}" presName="thinLine2b" presStyleLbl="callout" presStyleIdx="1" presStyleCnt="3"/>
      <dgm:spPr/>
    </dgm:pt>
    <dgm:pt modelId="{5A9CD76D-AAB8-BA4B-9DFA-D9DBDAE3616B}" type="pres">
      <dgm:prSet presAssocID="{791AD30B-689C-AD4A-9B67-DACD83A4D7E5}" presName="vertSpace2b" presStyleCnt="0"/>
      <dgm:spPr/>
    </dgm:pt>
    <dgm:pt modelId="{A0F9F797-2CF4-C541-A0BF-3EAB6301B1A3}" type="pres">
      <dgm:prSet presAssocID="{C8A9BCB3-602F-FC4A-9626-FAF506510228}" presName="horz2" presStyleCnt="0"/>
      <dgm:spPr/>
    </dgm:pt>
    <dgm:pt modelId="{1CBBF504-CB55-3A45-8EC2-54D35146B5C5}" type="pres">
      <dgm:prSet presAssocID="{C8A9BCB3-602F-FC4A-9626-FAF506510228}" presName="horzSpace2" presStyleCnt="0"/>
      <dgm:spPr/>
    </dgm:pt>
    <dgm:pt modelId="{AB17B3C0-8B4E-8447-85D8-ED4C27435E36}" type="pres">
      <dgm:prSet presAssocID="{C8A9BCB3-602F-FC4A-9626-FAF506510228}" presName="tx2" presStyleLbl="revTx" presStyleIdx="4" presStyleCnt="5"/>
      <dgm:spPr/>
    </dgm:pt>
    <dgm:pt modelId="{D47698C1-5B6B-8346-8B94-BC7B9011CBC1}" type="pres">
      <dgm:prSet presAssocID="{C8A9BCB3-602F-FC4A-9626-FAF506510228}" presName="vert2" presStyleCnt="0"/>
      <dgm:spPr/>
    </dgm:pt>
    <dgm:pt modelId="{DC486AB2-0141-824C-933A-3465454A994A}" type="pres">
      <dgm:prSet presAssocID="{C8A9BCB3-602F-FC4A-9626-FAF506510228}" presName="thinLine2b" presStyleLbl="callout" presStyleIdx="2" presStyleCnt="3"/>
      <dgm:spPr/>
    </dgm:pt>
    <dgm:pt modelId="{E4603128-7436-9D4B-852B-F98368ECC16D}" type="pres">
      <dgm:prSet presAssocID="{C8A9BCB3-602F-FC4A-9626-FAF506510228}" presName="vertSpace2b" presStyleCnt="0"/>
      <dgm:spPr/>
    </dgm:pt>
  </dgm:ptLst>
  <dgm:cxnLst>
    <dgm:cxn modelId="{D28EF535-F51A-4747-BCD3-4CFAAA47ADC2}" srcId="{6306B4F0-0BF6-414D-BBDB-4B362D062134}" destId="{791AD30B-689C-AD4A-9B67-DACD83A4D7E5}" srcOrd="0" destOrd="0" parTransId="{6576B5F8-AFF8-8140-999A-6AFBA8E11A8F}" sibTransId="{C429B716-A87A-1045-A6A8-B9614ED373C6}"/>
    <dgm:cxn modelId="{80EEDA5C-2D31-D140-9FA8-2AC9F8CF116C}" type="presOf" srcId="{02BA0D8E-884F-D545-BFF7-95207C181DAB}" destId="{2CD067F7-E2FA-644F-942D-B490F2BEF08C}" srcOrd="0" destOrd="0" presId="urn:microsoft.com/office/officeart/2008/layout/LinedList"/>
    <dgm:cxn modelId="{D0A9D15D-A772-9C4D-967C-20AA4A91FC23}" type="presOf" srcId="{C8A9BCB3-602F-FC4A-9626-FAF506510228}" destId="{AB17B3C0-8B4E-8447-85D8-ED4C27435E36}"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2EB435A6-0471-5242-9CB4-09352AD6CEA6}" srcId="{CF0461F7-EC97-BB41-A574-9C1E3009EACC}" destId="{702E368A-2D18-8F4A-9D13-AFF7DB4DFA01}" srcOrd="0" destOrd="0" parTransId="{2B1F21B4-E24E-B44F-8A13-949B0DE8FBCD}" sibTransId="{1CB74CA6-63F3-594D-8764-8E686D1608D9}"/>
    <dgm:cxn modelId="{DF84CCC5-74E2-F84B-89DD-C783E1FE76DC}" type="presOf" srcId="{6306B4F0-0BF6-414D-BBDB-4B362D062134}" destId="{116647AA-0BB2-D74C-8374-D312115C53FD}" srcOrd="0" destOrd="0" presId="urn:microsoft.com/office/officeart/2008/layout/LinedList"/>
    <dgm:cxn modelId="{B08C00CE-3FDB-5748-839D-59D42E7DBF20}" type="presOf" srcId="{702E368A-2D18-8F4A-9D13-AFF7DB4DFA01}" destId="{77705F56-1F8B-3C4E-8EE7-A1D664165CBE}" srcOrd="0" destOrd="0" presId="urn:microsoft.com/office/officeart/2008/layout/LinedList"/>
    <dgm:cxn modelId="{56EF0DD2-1AD6-AC4D-8684-479C4202D190}" srcId="{6306B4F0-0BF6-414D-BBDB-4B362D062134}" destId="{C8A9BCB3-602F-FC4A-9626-FAF506510228}" srcOrd="1" destOrd="0" parTransId="{0B803AD3-6C2C-FE47-9803-37C40BE4582E}" sibTransId="{8C959BF5-5ADE-2F4A-B433-E7E671FD26BE}"/>
    <dgm:cxn modelId="{04D667D6-88F2-9C43-89F5-E31C711C0AE1}" srcId="{02BA0D8E-884F-D545-BFF7-95207C181DAB}" destId="{6306B4F0-0BF6-414D-BBDB-4B362D062134}" srcOrd="1" destOrd="0" parTransId="{63095D2F-B22F-CE4B-A169-B400C8581FF5}" sibTransId="{F9D809FD-42E8-3C46-AA5B-C0252A438BDB}"/>
    <dgm:cxn modelId="{501C56ED-AD8E-5C4B-93F1-78C0DE48D34E}" type="presOf" srcId="{791AD30B-689C-AD4A-9B67-DACD83A4D7E5}" destId="{937AE9EB-113C-EB4C-8FCE-5B0902B3F89E}" srcOrd="0" destOrd="0" presId="urn:microsoft.com/office/officeart/2008/layout/LinedList"/>
    <dgm:cxn modelId="{2CF4FBF3-9D54-1F49-B4A9-16A0043570C7}" type="presOf" srcId="{CF0461F7-EC97-BB41-A574-9C1E3009EACC}" destId="{9CFBC554-5A85-F84B-AFF1-8C435488DC7F}" srcOrd="0" destOrd="0" presId="urn:microsoft.com/office/officeart/2008/layout/LinedList"/>
    <dgm:cxn modelId="{0514BD9C-81CB-A643-ACED-1D7DD44916B1}" type="presParOf" srcId="{2CD067F7-E2FA-644F-942D-B490F2BEF08C}" destId="{A907A7DD-0C3F-2447-8179-0322DD759F2B}" srcOrd="0" destOrd="0" presId="urn:microsoft.com/office/officeart/2008/layout/LinedList"/>
    <dgm:cxn modelId="{DCCCBF9A-9210-794F-BC57-4128BED009A4}" type="presParOf" srcId="{2CD067F7-E2FA-644F-942D-B490F2BEF08C}" destId="{39C4B6B8-38E9-D74B-A342-90688FBE2400}" srcOrd="1" destOrd="0" presId="urn:microsoft.com/office/officeart/2008/layout/LinedList"/>
    <dgm:cxn modelId="{C86E6700-BCB2-B74C-99BB-02F3F3393E78}" type="presParOf" srcId="{39C4B6B8-38E9-D74B-A342-90688FBE2400}" destId="{9CFBC554-5A85-F84B-AFF1-8C435488DC7F}" srcOrd="0" destOrd="0" presId="urn:microsoft.com/office/officeart/2008/layout/LinedList"/>
    <dgm:cxn modelId="{880EC2AC-A639-0A46-A990-77A342E30A00}" type="presParOf" srcId="{39C4B6B8-38E9-D74B-A342-90688FBE2400}" destId="{A476865F-B783-AC42-B9BA-91329513DE48}" srcOrd="1" destOrd="0" presId="urn:microsoft.com/office/officeart/2008/layout/LinedList"/>
    <dgm:cxn modelId="{82B4B293-31BB-2E40-803A-AA18820EAADC}" type="presParOf" srcId="{A476865F-B783-AC42-B9BA-91329513DE48}" destId="{3497D864-C69B-A94B-9599-1F59A0CFE33E}" srcOrd="0" destOrd="0" presId="urn:microsoft.com/office/officeart/2008/layout/LinedList"/>
    <dgm:cxn modelId="{0DE5F5B6-C12A-7F46-BEAC-96C26D5869E0}" type="presParOf" srcId="{A476865F-B783-AC42-B9BA-91329513DE48}" destId="{641F4245-F519-9144-BBE1-C932A223C5D5}" srcOrd="1" destOrd="0" presId="urn:microsoft.com/office/officeart/2008/layout/LinedList"/>
    <dgm:cxn modelId="{67BD89B0-9E84-664A-840B-8C9504BAC4D8}" type="presParOf" srcId="{641F4245-F519-9144-BBE1-C932A223C5D5}" destId="{7715B116-A197-2B41-B0A0-3922688547BF}" srcOrd="0" destOrd="0" presId="urn:microsoft.com/office/officeart/2008/layout/LinedList"/>
    <dgm:cxn modelId="{274360D8-FC7A-0341-9E35-177BF39B43C0}" type="presParOf" srcId="{641F4245-F519-9144-BBE1-C932A223C5D5}" destId="{77705F56-1F8B-3C4E-8EE7-A1D664165CBE}" srcOrd="1" destOrd="0" presId="urn:microsoft.com/office/officeart/2008/layout/LinedList"/>
    <dgm:cxn modelId="{DDC619C6-E81D-6F45-AA30-481777E56954}" type="presParOf" srcId="{641F4245-F519-9144-BBE1-C932A223C5D5}" destId="{34DA154C-00AD-714C-A0CE-FB7D588C69D0}" srcOrd="2" destOrd="0" presId="urn:microsoft.com/office/officeart/2008/layout/LinedList"/>
    <dgm:cxn modelId="{9DD32FD7-72E8-8240-A66C-88CAC83A4754}" type="presParOf" srcId="{A476865F-B783-AC42-B9BA-91329513DE48}" destId="{EEB14756-5CD8-6846-BB1E-7D0721E9804F}" srcOrd="2" destOrd="0" presId="urn:microsoft.com/office/officeart/2008/layout/LinedList"/>
    <dgm:cxn modelId="{FFB6FE10-F66E-7A4B-BFD9-C93933C0172E}" type="presParOf" srcId="{A476865F-B783-AC42-B9BA-91329513DE48}" destId="{A31426A9-1628-E649-97BB-5F100B5C7A00}" srcOrd="3" destOrd="0" presId="urn:microsoft.com/office/officeart/2008/layout/LinedList"/>
    <dgm:cxn modelId="{46BBA71D-CD25-6249-8C66-E6B8196DF1C5}" type="presParOf" srcId="{2CD067F7-E2FA-644F-942D-B490F2BEF08C}" destId="{912C66AE-4CDE-E240-8CFE-3107686AA3B9}" srcOrd="2" destOrd="0" presId="urn:microsoft.com/office/officeart/2008/layout/LinedList"/>
    <dgm:cxn modelId="{F28B4764-5667-854C-91B0-B9E0CA8DDEE1}" type="presParOf" srcId="{2CD067F7-E2FA-644F-942D-B490F2BEF08C}" destId="{436363C6-C28E-C140-A9BA-CA501C0B0A51}" srcOrd="3" destOrd="0" presId="urn:microsoft.com/office/officeart/2008/layout/LinedList"/>
    <dgm:cxn modelId="{8A6BA151-83A6-7F45-80A6-A45F95944D8B}" type="presParOf" srcId="{436363C6-C28E-C140-A9BA-CA501C0B0A51}" destId="{116647AA-0BB2-D74C-8374-D312115C53FD}" srcOrd="0" destOrd="0" presId="urn:microsoft.com/office/officeart/2008/layout/LinedList"/>
    <dgm:cxn modelId="{473A79B7-BF2C-0F4B-A1D7-9B55F7B0CF69}" type="presParOf" srcId="{436363C6-C28E-C140-A9BA-CA501C0B0A51}" destId="{E7E7DF3C-5125-0449-AC17-5CE0852041BE}" srcOrd="1" destOrd="0" presId="urn:microsoft.com/office/officeart/2008/layout/LinedList"/>
    <dgm:cxn modelId="{2D9B1FB2-C98F-104B-9384-43CA5583C4B5}" type="presParOf" srcId="{E7E7DF3C-5125-0449-AC17-5CE0852041BE}" destId="{C514C90C-63F8-0B4A-8BCB-4C87D60B53B2}" srcOrd="0" destOrd="0" presId="urn:microsoft.com/office/officeart/2008/layout/LinedList"/>
    <dgm:cxn modelId="{C8CFCD62-9810-5A40-A611-520DFBEC0F29}" type="presParOf" srcId="{E7E7DF3C-5125-0449-AC17-5CE0852041BE}" destId="{B2DAB570-0C41-AA43-95D3-BDCE9E12B3FD}" srcOrd="1" destOrd="0" presId="urn:microsoft.com/office/officeart/2008/layout/LinedList"/>
    <dgm:cxn modelId="{84D836C5-A80B-6248-948E-3B51E93E8F3A}" type="presParOf" srcId="{B2DAB570-0C41-AA43-95D3-BDCE9E12B3FD}" destId="{ED8DF746-7F8A-174B-BA0F-352019E55466}" srcOrd="0" destOrd="0" presId="urn:microsoft.com/office/officeart/2008/layout/LinedList"/>
    <dgm:cxn modelId="{E04413D5-D6BA-CD42-B04D-64E6375CCC92}" type="presParOf" srcId="{B2DAB570-0C41-AA43-95D3-BDCE9E12B3FD}" destId="{937AE9EB-113C-EB4C-8FCE-5B0902B3F89E}" srcOrd="1" destOrd="0" presId="urn:microsoft.com/office/officeart/2008/layout/LinedList"/>
    <dgm:cxn modelId="{780F39BB-C427-D641-957F-9B737B6BDAB6}" type="presParOf" srcId="{B2DAB570-0C41-AA43-95D3-BDCE9E12B3FD}" destId="{D95B0160-DA81-7748-B12F-70CB0FB22B13}" srcOrd="2" destOrd="0" presId="urn:microsoft.com/office/officeart/2008/layout/LinedList"/>
    <dgm:cxn modelId="{7A59B279-E223-024D-B274-0FA2CE1BC108}" type="presParOf" srcId="{E7E7DF3C-5125-0449-AC17-5CE0852041BE}" destId="{ADA0B21C-D0D2-1D46-8348-7231F114A087}" srcOrd="2" destOrd="0" presId="urn:microsoft.com/office/officeart/2008/layout/LinedList"/>
    <dgm:cxn modelId="{00C269B0-AF88-174F-AF1E-8B7FAC71F3C7}" type="presParOf" srcId="{E7E7DF3C-5125-0449-AC17-5CE0852041BE}" destId="{5A9CD76D-AAB8-BA4B-9DFA-D9DBDAE3616B}" srcOrd="3" destOrd="0" presId="urn:microsoft.com/office/officeart/2008/layout/LinedList"/>
    <dgm:cxn modelId="{29C9863A-7DC5-2C42-8AD3-7DA4F5C12F3B}" type="presParOf" srcId="{E7E7DF3C-5125-0449-AC17-5CE0852041BE}" destId="{A0F9F797-2CF4-C541-A0BF-3EAB6301B1A3}" srcOrd="4" destOrd="0" presId="urn:microsoft.com/office/officeart/2008/layout/LinedList"/>
    <dgm:cxn modelId="{7607B6C6-C12D-3140-A970-1F20007ABA29}" type="presParOf" srcId="{A0F9F797-2CF4-C541-A0BF-3EAB6301B1A3}" destId="{1CBBF504-CB55-3A45-8EC2-54D35146B5C5}" srcOrd="0" destOrd="0" presId="urn:microsoft.com/office/officeart/2008/layout/LinedList"/>
    <dgm:cxn modelId="{8778D2F3-2F3D-AF44-9123-89A6BAB1D479}" type="presParOf" srcId="{A0F9F797-2CF4-C541-A0BF-3EAB6301B1A3}" destId="{AB17B3C0-8B4E-8447-85D8-ED4C27435E36}" srcOrd="1" destOrd="0" presId="urn:microsoft.com/office/officeart/2008/layout/LinedList"/>
    <dgm:cxn modelId="{C987655D-83DD-DA4F-9399-315BB23514CC}" type="presParOf" srcId="{A0F9F797-2CF4-C541-A0BF-3EAB6301B1A3}" destId="{D47698C1-5B6B-8346-8B94-BC7B9011CBC1}" srcOrd="2" destOrd="0" presId="urn:microsoft.com/office/officeart/2008/layout/LinedList"/>
    <dgm:cxn modelId="{782A5C6F-1198-A646-8853-756DF92DAC6F}" type="presParOf" srcId="{E7E7DF3C-5125-0449-AC17-5CE0852041BE}" destId="{DC486AB2-0141-824C-933A-3465454A994A}" srcOrd="5" destOrd="0" presId="urn:microsoft.com/office/officeart/2008/layout/LinedList"/>
    <dgm:cxn modelId="{22B7C441-51C5-F048-A151-C81C495FFEEB}" type="presParOf" srcId="{E7E7DF3C-5125-0449-AC17-5CE0852041BE}" destId="{E4603128-7436-9D4B-852B-F98368ECC16D}" srcOrd="6"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9</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7C57489F-FFEB-6540-B1DB-C226AB5695C5}"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7A2D5FE1-4A5A-AE4F-973F-5D3B41DFED15}" type="presOf" srcId="{44F371D9-EE28-43D3-A86D-541CB7E51DB8}" destId="{834CDD0F-2A72-40E4-9F5C-254C6DC50A0F}" srcOrd="0" destOrd="0" presId="urn:microsoft.com/office/officeart/2005/8/layout/venn1"/>
    <dgm:cxn modelId="{005A4730-634A-A34B-9E9F-EFAD7F39BF71}"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11-12</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DC99CC1B-2EEE-8D46-AB0B-83F6B024485D}" type="presOf" srcId="{44F371D9-EE28-43D3-A86D-541CB7E51DB8}" destId="{834CDD0F-2A72-40E4-9F5C-254C6DC50A0F}" srcOrd="0" destOrd="0" presId="urn:microsoft.com/office/officeart/2005/8/layout/venn1"/>
    <dgm:cxn modelId="{04D5CB20-3C97-0E4C-BFCA-DFBFFD5618B2}"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B36F6E4D-E007-594E-A42C-0FAB68728478}"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2</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4F300B2D-836C-2249-9723-603A1718D5AE}" type="presOf" srcId="{C2945230-8A03-49C4-AE11-508590DB7B8B}" destId="{DDF5C611-4A57-4D32-BF4D-AD972F42154B}" srcOrd="0" destOrd="0" presId="urn:microsoft.com/office/officeart/2005/8/layout/venn1"/>
    <dgm:cxn modelId="{6F8A43AF-8E91-6641-B8B8-0B1D5253C717}"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02DAB08-F4E4-0544-B014-D5BCE1730F36}"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T1 ReF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What’s excluded?</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Limitation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6306B4F0-0BF6-414D-BBDB-4B362D062134}">
      <dgm:prSet/>
      <dgm:spPr/>
      <dgm:t>
        <a:bodyPr/>
        <a:lstStyle/>
        <a:p>
          <a:pPr rtl="0"/>
          <a:r>
            <a:rPr lang="en-CA" dirty="0"/>
            <a:t>Who can use?</a:t>
          </a:r>
        </a:p>
      </dgm:t>
    </dgm:pt>
    <dgm:pt modelId="{63095D2F-B22F-CE4B-A169-B400C8581FF5}" type="parTrans" cxnId="{04D667D6-88F2-9C43-89F5-E31C711C0AE1}">
      <dgm:prSet/>
      <dgm:spPr/>
      <dgm:t>
        <a:bodyPr/>
        <a:lstStyle/>
        <a:p>
          <a:endParaRPr lang="en-CA"/>
        </a:p>
      </dgm:t>
    </dgm:pt>
    <dgm:pt modelId="{F9D809FD-42E8-3C46-AA5B-C0252A438BDB}" type="sibTrans" cxnId="{04D667D6-88F2-9C43-89F5-E31C711C0AE1}">
      <dgm:prSet/>
      <dgm:spPr/>
      <dgm:t>
        <a:bodyPr/>
        <a:lstStyle/>
        <a:p>
          <a:endParaRPr lang="en-CA"/>
        </a:p>
      </dgm:t>
    </dgm:pt>
    <dgm:pt modelId="{1487B9CB-B521-4D52-89FD-26F54D40D375}">
      <dgm:prSet/>
      <dgm:spPr/>
      <dgm:t>
        <a:bodyPr/>
        <a:lstStyle/>
        <a:p>
          <a:pPr rtl="0"/>
          <a:r>
            <a:rPr lang="en-CA" dirty="0"/>
            <a:t>2016 - 2019 </a:t>
          </a:r>
        </a:p>
      </dgm:t>
    </dgm:pt>
    <dgm:pt modelId="{7D86A315-74CF-4E58-8BF3-3D084A91CFBD}" type="parTrans" cxnId="{B60A0DE6-64DA-4018-BE44-B64517284F6D}">
      <dgm:prSet/>
      <dgm:spPr/>
      <dgm:t>
        <a:bodyPr/>
        <a:lstStyle/>
        <a:p>
          <a:endParaRPr lang="en-US"/>
        </a:p>
      </dgm:t>
    </dgm:pt>
    <dgm:pt modelId="{5A50783C-121E-482E-AE7C-7CA4BFA0FB55}" type="sibTrans" cxnId="{B60A0DE6-64DA-4018-BE44-B64517284F6D}">
      <dgm:prSet/>
      <dgm:spPr/>
      <dgm:t>
        <a:bodyPr/>
        <a:lstStyle/>
        <a:p>
          <a:endParaRPr lang="en-US"/>
        </a:p>
      </dgm:t>
    </dgm:pt>
    <dgm:pt modelId="{A8C26388-FBC3-394F-86E2-C3A0F0993DE9}" type="pres">
      <dgm:prSet presAssocID="{02BA0D8E-884F-D545-BFF7-95207C181DAB}" presName="vert0" presStyleCnt="0">
        <dgm:presLayoutVars>
          <dgm:dir/>
          <dgm:animOne val="branch"/>
          <dgm:animLvl val="lvl"/>
        </dgm:presLayoutVars>
      </dgm:prSet>
      <dgm:spPr/>
    </dgm:pt>
    <dgm:pt modelId="{F3E829F3-4F82-664E-BE04-D4B5DFA5DAC9}" type="pres">
      <dgm:prSet presAssocID="{CF0461F7-EC97-BB41-A574-9C1E3009EACC}" presName="thickLine" presStyleLbl="alignNode1" presStyleIdx="0" presStyleCnt="5"/>
      <dgm:spPr/>
    </dgm:pt>
    <dgm:pt modelId="{6393E823-A0FB-7B41-98B0-05E001752C70}" type="pres">
      <dgm:prSet presAssocID="{CF0461F7-EC97-BB41-A574-9C1E3009EACC}" presName="horz1" presStyleCnt="0"/>
      <dgm:spPr/>
    </dgm:pt>
    <dgm:pt modelId="{DD4B38D2-EFA1-A649-AE0D-8E40EC4DBD9E}" type="pres">
      <dgm:prSet presAssocID="{CF0461F7-EC97-BB41-A574-9C1E3009EACC}" presName="tx1" presStyleLbl="revTx" presStyleIdx="0" presStyleCnt="5"/>
      <dgm:spPr/>
    </dgm:pt>
    <dgm:pt modelId="{64FB14D9-948C-9343-8A57-F26C10E0419A}" type="pres">
      <dgm:prSet presAssocID="{CF0461F7-EC97-BB41-A574-9C1E3009EACC}" presName="vert1" presStyleCnt="0"/>
      <dgm:spPr/>
    </dgm:pt>
    <dgm:pt modelId="{9EA960B4-92C1-DE4A-9D51-D0201D44DFBF}" type="pres">
      <dgm:prSet presAssocID="{6306B4F0-0BF6-414D-BBDB-4B362D062134}" presName="thickLine" presStyleLbl="alignNode1" presStyleIdx="1" presStyleCnt="5"/>
      <dgm:spPr/>
    </dgm:pt>
    <dgm:pt modelId="{5DEB7B07-C92B-4144-8C51-2D08AD1F5BE7}" type="pres">
      <dgm:prSet presAssocID="{6306B4F0-0BF6-414D-BBDB-4B362D062134}" presName="horz1" presStyleCnt="0"/>
      <dgm:spPr/>
    </dgm:pt>
    <dgm:pt modelId="{7030C30B-370D-7241-AF2C-5AEA1C89826D}" type="pres">
      <dgm:prSet presAssocID="{6306B4F0-0BF6-414D-BBDB-4B362D062134}" presName="tx1" presStyleLbl="revTx" presStyleIdx="1" presStyleCnt="5"/>
      <dgm:spPr/>
    </dgm:pt>
    <dgm:pt modelId="{264FCFB2-F65E-E846-86F1-D82A46F15CC8}" type="pres">
      <dgm:prSet presAssocID="{6306B4F0-0BF6-414D-BBDB-4B362D062134}" presName="vert1" presStyleCnt="0"/>
      <dgm:spPr/>
    </dgm:pt>
    <dgm:pt modelId="{CD6556C9-6CE7-C945-9E8F-2D991893DB36}" type="pres">
      <dgm:prSet presAssocID="{C8A9BCB3-602F-FC4A-9626-FAF506510228}" presName="thickLine" presStyleLbl="alignNode1" presStyleIdx="2" presStyleCnt="5"/>
      <dgm:spPr/>
    </dgm:pt>
    <dgm:pt modelId="{9F8407B8-6054-B646-9E54-185BC4F78DBF}" type="pres">
      <dgm:prSet presAssocID="{C8A9BCB3-602F-FC4A-9626-FAF506510228}" presName="horz1" presStyleCnt="0"/>
      <dgm:spPr/>
    </dgm:pt>
    <dgm:pt modelId="{ECE37C55-DA02-0548-9742-9D846EB490E2}" type="pres">
      <dgm:prSet presAssocID="{C8A9BCB3-602F-FC4A-9626-FAF506510228}" presName="tx1" presStyleLbl="revTx" presStyleIdx="2" presStyleCnt="5"/>
      <dgm:spPr/>
    </dgm:pt>
    <dgm:pt modelId="{074B4B53-4102-7745-8DC0-AAB51B2DA52A}" type="pres">
      <dgm:prSet presAssocID="{C8A9BCB3-602F-FC4A-9626-FAF506510228}" presName="vert1" presStyleCnt="0"/>
      <dgm:spPr/>
    </dgm:pt>
    <dgm:pt modelId="{9423243A-E4B3-AC47-84F6-A7CAC19942E7}" type="pres">
      <dgm:prSet presAssocID="{963218B0-03E7-B248-BDE4-426021B288BE}" presName="thickLine" presStyleLbl="alignNode1" presStyleIdx="3" presStyleCnt="5"/>
      <dgm:spPr/>
    </dgm:pt>
    <dgm:pt modelId="{D9A95336-501C-2E43-8BC8-0B1D1B8D275C}" type="pres">
      <dgm:prSet presAssocID="{963218B0-03E7-B248-BDE4-426021B288BE}" presName="horz1" presStyleCnt="0"/>
      <dgm:spPr/>
    </dgm:pt>
    <dgm:pt modelId="{C7AA8E6E-32B3-4A4E-BDBB-4B0A6FEF3817}" type="pres">
      <dgm:prSet presAssocID="{963218B0-03E7-B248-BDE4-426021B288BE}" presName="tx1" presStyleLbl="revTx" presStyleIdx="3" presStyleCnt="5"/>
      <dgm:spPr/>
    </dgm:pt>
    <dgm:pt modelId="{810EEFDE-C54C-BD43-83C0-F7270D0A1032}" type="pres">
      <dgm:prSet presAssocID="{963218B0-03E7-B248-BDE4-426021B288BE}" presName="vert1" presStyleCnt="0"/>
      <dgm:spPr/>
    </dgm:pt>
    <dgm:pt modelId="{16D167DE-5AF1-5845-8305-E2F21F213BFA}" type="pres">
      <dgm:prSet presAssocID="{1487B9CB-B521-4D52-89FD-26F54D40D375}" presName="thickLine" presStyleLbl="alignNode1" presStyleIdx="4" presStyleCnt="5"/>
      <dgm:spPr/>
    </dgm:pt>
    <dgm:pt modelId="{6E735B68-DC48-D24B-A490-474FA87CEA54}" type="pres">
      <dgm:prSet presAssocID="{1487B9CB-B521-4D52-89FD-26F54D40D375}" presName="horz1" presStyleCnt="0"/>
      <dgm:spPr/>
    </dgm:pt>
    <dgm:pt modelId="{40788F49-C3A0-2940-BFCD-193B65F3210B}" type="pres">
      <dgm:prSet presAssocID="{1487B9CB-B521-4D52-89FD-26F54D40D375}" presName="tx1" presStyleLbl="revTx" presStyleIdx="4" presStyleCnt="5"/>
      <dgm:spPr/>
    </dgm:pt>
    <dgm:pt modelId="{B9373D8F-CB2A-914D-A73E-E8226882870B}" type="pres">
      <dgm:prSet presAssocID="{1487B9CB-B521-4D52-89FD-26F54D40D375}" presName="vert1" presStyleCnt="0"/>
      <dgm:spPr/>
    </dgm:pt>
  </dgm:ptLst>
  <dgm:cxnLst>
    <dgm:cxn modelId="{9FFD9E03-2772-DE4D-9389-5FA251189821}" type="presOf" srcId="{1487B9CB-B521-4D52-89FD-26F54D40D375}" destId="{40788F49-C3A0-2940-BFCD-193B65F3210B}" srcOrd="0" destOrd="0" presId="urn:microsoft.com/office/officeart/2008/layout/LinedList"/>
    <dgm:cxn modelId="{8BA2A526-0A30-2A48-BE82-0FC58564418A}" type="presOf" srcId="{CF0461F7-EC97-BB41-A574-9C1E3009EACC}" destId="{DD4B38D2-EFA1-A649-AE0D-8E40EC4DBD9E}" srcOrd="0" destOrd="0" presId="urn:microsoft.com/office/officeart/2008/layout/LinedList"/>
    <dgm:cxn modelId="{1F8CEA57-0189-E841-8060-0EB70230263E}" type="presOf" srcId="{6306B4F0-0BF6-414D-BBDB-4B362D062134}" destId="{7030C30B-370D-7241-AF2C-5AEA1C89826D}" srcOrd="0" destOrd="0" presId="urn:microsoft.com/office/officeart/2008/layout/LinedList"/>
    <dgm:cxn modelId="{712BC364-7900-994F-AAE7-E8F459A67C59}" srcId="{02BA0D8E-884F-D545-BFF7-95207C181DAB}" destId="{963218B0-03E7-B248-BDE4-426021B288BE}" srcOrd="3" destOrd="0" parTransId="{7474B829-CB2E-394E-8C4B-780B9C0B7223}" sibTransId="{37A20B40-C6B8-2244-B6A7-3690479ACC26}"/>
    <dgm:cxn modelId="{0CEBE669-6722-9E4A-9221-480297426E8E}" type="presOf" srcId="{02BA0D8E-884F-D545-BFF7-95207C181DAB}" destId="{A8C26388-FBC3-394F-86E2-C3A0F0993DE9}"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065593BB-CAFA-5B44-954B-ADEE5C32EB08}" type="presOf" srcId="{963218B0-03E7-B248-BDE4-426021B288BE}" destId="{C7AA8E6E-32B3-4A4E-BDBB-4B0A6FEF3817}" srcOrd="0" destOrd="0" presId="urn:microsoft.com/office/officeart/2008/layout/LinedList"/>
    <dgm:cxn modelId="{56EF0DD2-1AD6-AC4D-8684-479C4202D190}" srcId="{02BA0D8E-884F-D545-BFF7-95207C181DAB}" destId="{C8A9BCB3-602F-FC4A-9626-FAF506510228}" srcOrd="2" destOrd="0" parTransId="{0B803AD3-6C2C-FE47-9803-37C40BE4582E}" sibTransId="{8C959BF5-5ADE-2F4A-B433-E7E671FD26BE}"/>
    <dgm:cxn modelId="{04D667D6-88F2-9C43-89F5-E31C711C0AE1}" srcId="{02BA0D8E-884F-D545-BFF7-95207C181DAB}" destId="{6306B4F0-0BF6-414D-BBDB-4B362D062134}" srcOrd="1" destOrd="0" parTransId="{63095D2F-B22F-CE4B-A169-B400C8581FF5}" sibTransId="{F9D809FD-42E8-3C46-AA5B-C0252A438BDB}"/>
    <dgm:cxn modelId="{E00821DF-D901-4741-867D-D973CB6C1AE8}" type="presOf" srcId="{C8A9BCB3-602F-FC4A-9626-FAF506510228}" destId="{ECE37C55-DA02-0548-9742-9D846EB490E2}" srcOrd="0" destOrd="0" presId="urn:microsoft.com/office/officeart/2008/layout/LinedList"/>
    <dgm:cxn modelId="{B60A0DE6-64DA-4018-BE44-B64517284F6D}" srcId="{02BA0D8E-884F-D545-BFF7-95207C181DAB}" destId="{1487B9CB-B521-4D52-89FD-26F54D40D375}" srcOrd="4" destOrd="0" parTransId="{7D86A315-74CF-4E58-8BF3-3D084A91CFBD}" sibTransId="{5A50783C-121E-482E-AE7C-7CA4BFA0FB55}"/>
    <dgm:cxn modelId="{2AA9D576-4A25-CE43-87A2-7F691CCEEE52}" type="presParOf" srcId="{A8C26388-FBC3-394F-86E2-C3A0F0993DE9}" destId="{F3E829F3-4F82-664E-BE04-D4B5DFA5DAC9}" srcOrd="0" destOrd="0" presId="urn:microsoft.com/office/officeart/2008/layout/LinedList"/>
    <dgm:cxn modelId="{A5FD4F5E-D875-414B-B7EB-F176F636CBF5}" type="presParOf" srcId="{A8C26388-FBC3-394F-86E2-C3A0F0993DE9}" destId="{6393E823-A0FB-7B41-98B0-05E001752C70}" srcOrd="1" destOrd="0" presId="urn:microsoft.com/office/officeart/2008/layout/LinedList"/>
    <dgm:cxn modelId="{DE43FF34-934B-E542-9C58-EB364153CCA8}" type="presParOf" srcId="{6393E823-A0FB-7B41-98B0-05E001752C70}" destId="{DD4B38D2-EFA1-A649-AE0D-8E40EC4DBD9E}" srcOrd="0" destOrd="0" presId="urn:microsoft.com/office/officeart/2008/layout/LinedList"/>
    <dgm:cxn modelId="{361CCC9E-1014-C742-8569-70024C2FB152}" type="presParOf" srcId="{6393E823-A0FB-7B41-98B0-05E001752C70}" destId="{64FB14D9-948C-9343-8A57-F26C10E0419A}" srcOrd="1" destOrd="0" presId="urn:microsoft.com/office/officeart/2008/layout/LinedList"/>
    <dgm:cxn modelId="{60C1472C-0F4A-B848-80B5-F53160901B36}" type="presParOf" srcId="{A8C26388-FBC3-394F-86E2-C3A0F0993DE9}" destId="{9EA960B4-92C1-DE4A-9D51-D0201D44DFBF}" srcOrd="2" destOrd="0" presId="urn:microsoft.com/office/officeart/2008/layout/LinedList"/>
    <dgm:cxn modelId="{8B6C62DB-7A8B-8A4F-AD73-CC57E5D512D1}" type="presParOf" srcId="{A8C26388-FBC3-394F-86E2-C3A0F0993DE9}" destId="{5DEB7B07-C92B-4144-8C51-2D08AD1F5BE7}" srcOrd="3" destOrd="0" presId="urn:microsoft.com/office/officeart/2008/layout/LinedList"/>
    <dgm:cxn modelId="{C63E9D56-4C8F-6C4E-8D73-97B5B99F629E}" type="presParOf" srcId="{5DEB7B07-C92B-4144-8C51-2D08AD1F5BE7}" destId="{7030C30B-370D-7241-AF2C-5AEA1C89826D}" srcOrd="0" destOrd="0" presId="urn:microsoft.com/office/officeart/2008/layout/LinedList"/>
    <dgm:cxn modelId="{402ACFB5-FC73-744E-947B-81A177C3A605}" type="presParOf" srcId="{5DEB7B07-C92B-4144-8C51-2D08AD1F5BE7}" destId="{264FCFB2-F65E-E846-86F1-D82A46F15CC8}" srcOrd="1" destOrd="0" presId="urn:microsoft.com/office/officeart/2008/layout/LinedList"/>
    <dgm:cxn modelId="{24819474-BF97-A549-8E1D-8ECD5BD341DA}" type="presParOf" srcId="{A8C26388-FBC3-394F-86E2-C3A0F0993DE9}" destId="{CD6556C9-6CE7-C945-9E8F-2D991893DB36}" srcOrd="4" destOrd="0" presId="urn:microsoft.com/office/officeart/2008/layout/LinedList"/>
    <dgm:cxn modelId="{811C2CB8-8B15-CF4F-92BD-7C9A6C34E23E}" type="presParOf" srcId="{A8C26388-FBC3-394F-86E2-C3A0F0993DE9}" destId="{9F8407B8-6054-B646-9E54-185BC4F78DBF}" srcOrd="5" destOrd="0" presId="urn:microsoft.com/office/officeart/2008/layout/LinedList"/>
    <dgm:cxn modelId="{6453F1AD-5A92-5544-9A52-F14236303D63}" type="presParOf" srcId="{9F8407B8-6054-B646-9E54-185BC4F78DBF}" destId="{ECE37C55-DA02-0548-9742-9D846EB490E2}" srcOrd="0" destOrd="0" presId="urn:microsoft.com/office/officeart/2008/layout/LinedList"/>
    <dgm:cxn modelId="{F6CD0F38-BE6B-C849-9B16-AD9CFA2EA1E2}" type="presParOf" srcId="{9F8407B8-6054-B646-9E54-185BC4F78DBF}" destId="{074B4B53-4102-7745-8DC0-AAB51B2DA52A}" srcOrd="1" destOrd="0" presId="urn:microsoft.com/office/officeart/2008/layout/LinedList"/>
    <dgm:cxn modelId="{1238DFFF-8B78-7147-93C9-EB05290A7813}" type="presParOf" srcId="{A8C26388-FBC3-394F-86E2-C3A0F0993DE9}" destId="{9423243A-E4B3-AC47-84F6-A7CAC19942E7}" srcOrd="6" destOrd="0" presId="urn:microsoft.com/office/officeart/2008/layout/LinedList"/>
    <dgm:cxn modelId="{3DB2AAF9-0458-3E4C-91F6-739ABB2885A6}" type="presParOf" srcId="{A8C26388-FBC3-394F-86E2-C3A0F0993DE9}" destId="{D9A95336-501C-2E43-8BC8-0B1D1B8D275C}" srcOrd="7" destOrd="0" presId="urn:microsoft.com/office/officeart/2008/layout/LinedList"/>
    <dgm:cxn modelId="{AB5A6F94-47F1-1F44-B0A6-7C15852B4065}" type="presParOf" srcId="{D9A95336-501C-2E43-8BC8-0B1D1B8D275C}" destId="{C7AA8E6E-32B3-4A4E-BDBB-4B0A6FEF3817}" srcOrd="0" destOrd="0" presId="urn:microsoft.com/office/officeart/2008/layout/LinedList"/>
    <dgm:cxn modelId="{F741DF71-EB5E-354E-9507-3AF63DDF581C}" type="presParOf" srcId="{D9A95336-501C-2E43-8BC8-0B1D1B8D275C}" destId="{810EEFDE-C54C-BD43-83C0-F7270D0A1032}" srcOrd="1" destOrd="0" presId="urn:microsoft.com/office/officeart/2008/layout/LinedList"/>
    <dgm:cxn modelId="{B3F346DD-9DE9-B043-BDF4-939BCAD468A6}" type="presParOf" srcId="{A8C26388-FBC3-394F-86E2-C3A0F0993DE9}" destId="{16D167DE-5AF1-5845-8305-E2F21F213BFA}" srcOrd="8" destOrd="0" presId="urn:microsoft.com/office/officeart/2008/layout/LinedList"/>
    <dgm:cxn modelId="{7C9F12D3-44A6-4245-B27E-19D700D6638F}" type="presParOf" srcId="{A8C26388-FBC3-394F-86E2-C3A0F0993DE9}" destId="{6E735B68-DC48-D24B-A490-474FA87CEA54}" srcOrd="9" destOrd="0" presId="urn:microsoft.com/office/officeart/2008/layout/LinedList"/>
    <dgm:cxn modelId="{6B0B527B-3DA8-AA4C-AC53-30E7AC51E0D9}" type="presParOf" srcId="{6E735B68-DC48-D24B-A490-474FA87CEA54}" destId="{40788F49-C3A0-2940-BFCD-193B65F3210B}" srcOrd="0" destOrd="0" presId="urn:microsoft.com/office/officeart/2008/layout/LinedList"/>
    <dgm:cxn modelId="{5D6492B8-A0BA-284D-9E79-0625C7A4DFA7}" type="presParOf" srcId="{6E735B68-DC48-D24B-A490-474FA87CEA54}" destId="{B9373D8F-CB2A-914D-A73E-E8226882870B}"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6393EA18-AF80-084A-A5B6-3B23A0D8152A}" type="presOf" srcId="{44F371D9-EE28-43D3-A86D-541CB7E51DB8}" destId="{834CDD0F-2A72-40E4-9F5C-254C6DC50A0F}" srcOrd="0" destOrd="0" presId="urn:microsoft.com/office/officeart/2005/8/layout/venn1"/>
    <dgm:cxn modelId="{93B27A85-8809-EA46-AC2B-237BC7C13E01}" type="presOf" srcId="{C2945230-8A03-49C4-AE11-508590DB7B8B}" destId="{DDF5C611-4A57-4D32-BF4D-AD972F42154B}"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F9B05A22-B248-0743-BB40-A9278456569A}"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3CB6F0BF-076D-9F48-9A46-60028B6FE005}">
      <dgm:prSet custT="1"/>
      <dgm:spPr/>
      <dgm:t>
        <a:bodyPr/>
        <a:lstStyle/>
        <a:p>
          <a:pPr rtl="0"/>
          <a:r>
            <a:rPr lang="en-CA" sz="3600" dirty="0"/>
            <a:t>How to</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BCED7BB8-DEB5-4F92-B4AB-8FAA3206C294}">
      <dgm:prSet/>
      <dgm:spPr/>
      <dgm:t>
        <a:bodyPr/>
        <a:lstStyle/>
        <a:p>
          <a:pPr rtl="0"/>
          <a:r>
            <a:rPr lang="en-CA" dirty="0"/>
            <a:t>Open T1 &gt; Save as</a:t>
          </a:r>
        </a:p>
      </dgm:t>
    </dgm:pt>
    <dgm:pt modelId="{19192E39-CBB0-4E45-BB36-38DD6C39D4E8}" type="parTrans" cxnId="{D0A81350-A200-4445-8F26-F180A38F23E2}">
      <dgm:prSet/>
      <dgm:spPr/>
      <dgm:t>
        <a:bodyPr/>
        <a:lstStyle/>
        <a:p>
          <a:endParaRPr lang="en-US"/>
        </a:p>
      </dgm:t>
    </dgm:pt>
    <dgm:pt modelId="{E0B99025-BA52-4969-A69A-5870B44D96F1}" type="sibTrans" cxnId="{D0A81350-A200-4445-8F26-F180A38F23E2}">
      <dgm:prSet/>
      <dgm:spPr/>
      <dgm:t>
        <a:bodyPr/>
        <a:lstStyle/>
        <a:p>
          <a:endParaRPr lang="en-US"/>
        </a:p>
      </dgm:t>
    </dgm:pt>
    <dgm:pt modelId="{887676CD-A875-4C59-9928-78560770E503}">
      <dgm:prSet/>
      <dgm:spPr/>
      <dgm:t>
        <a:bodyPr/>
        <a:lstStyle/>
        <a:p>
          <a:pPr rtl="0"/>
          <a:r>
            <a:rPr lang="en-CA" dirty="0"/>
            <a:t>Amend T1</a:t>
          </a:r>
        </a:p>
      </dgm:t>
    </dgm:pt>
    <dgm:pt modelId="{877B7B99-6165-4E06-A9BD-033AE5AC893D}" type="parTrans" cxnId="{CAAEB70A-EE21-4CB1-901B-F556C7FE44E0}">
      <dgm:prSet/>
      <dgm:spPr/>
      <dgm:t>
        <a:bodyPr/>
        <a:lstStyle/>
        <a:p>
          <a:endParaRPr lang="en-US"/>
        </a:p>
      </dgm:t>
    </dgm:pt>
    <dgm:pt modelId="{196E823A-776D-48CD-AEA8-9AAB5C64D43B}" type="sibTrans" cxnId="{CAAEB70A-EE21-4CB1-901B-F556C7FE44E0}">
      <dgm:prSet/>
      <dgm:spPr/>
      <dgm:t>
        <a:bodyPr/>
        <a:lstStyle/>
        <a:p>
          <a:endParaRPr lang="en-US"/>
        </a:p>
      </dgm:t>
    </dgm:pt>
    <dgm:pt modelId="{B5DBBD81-B2B2-4155-A3FE-98229E0A7AE0}">
      <dgm:prSet/>
      <dgm:spPr/>
      <dgm:t>
        <a:bodyPr/>
        <a:lstStyle/>
        <a:p>
          <a:pPr rtl="0"/>
          <a:r>
            <a:rPr lang="en-CA" dirty="0"/>
            <a:t>F4 &gt; T1Refile</a:t>
          </a:r>
        </a:p>
      </dgm:t>
    </dgm:pt>
    <dgm:pt modelId="{CEFEA65D-0D38-4BB6-A3DE-247D80F461C6}" type="parTrans" cxnId="{81C1F1D6-75AE-447C-B42A-20051D7F8200}">
      <dgm:prSet/>
      <dgm:spPr/>
      <dgm:t>
        <a:bodyPr/>
        <a:lstStyle/>
        <a:p>
          <a:endParaRPr lang="en-US"/>
        </a:p>
      </dgm:t>
    </dgm:pt>
    <dgm:pt modelId="{A4B1557F-FA79-43ED-A89A-EC4842D54D9A}" type="sibTrans" cxnId="{81C1F1D6-75AE-447C-B42A-20051D7F8200}">
      <dgm:prSet/>
      <dgm:spPr/>
      <dgm:t>
        <a:bodyPr/>
        <a:lstStyle/>
        <a:p>
          <a:endParaRPr lang="en-US"/>
        </a:p>
      </dgm:t>
    </dgm:pt>
    <dgm:pt modelId="{E6DB487A-E060-4BF4-B3FD-82661905616D}">
      <dgm:prSet/>
      <dgm:spPr/>
      <dgm:t>
        <a:bodyPr/>
        <a:lstStyle/>
        <a:p>
          <a:pPr rtl="0"/>
          <a:r>
            <a:rPr lang="en-CA" dirty="0"/>
            <a:t>Signed T183</a:t>
          </a:r>
        </a:p>
      </dgm:t>
    </dgm:pt>
    <dgm:pt modelId="{3E9BCCB0-43FA-424D-8758-FF3D399D08EA}" type="parTrans" cxnId="{AF7FB919-B4F1-4B28-89B9-8C6DFE5DBAE7}">
      <dgm:prSet/>
      <dgm:spPr/>
      <dgm:t>
        <a:bodyPr/>
        <a:lstStyle/>
        <a:p>
          <a:endParaRPr lang="en-US"/>
        </a:p>
      </dgm:t>
    </dgm:pt>
    <dgm:pt modelId="{AE9AADCD-8923-482C-BE88-A805BCEA006D}" type="sibTrans" cxnId="{AF7FB919-B4F1-4B28-89B9-8C6DFE5DBAE7}">
      <dgm:prSet/>
      <dgm:spPr/>
      <dgm:t>
        <a:bodyPr/>
        <a:lstStyle/>
        <a:p>
          <a:endParaRPr lang="en-US"/>
        </a:p>
      </dgm:t>
    </dgm:pt>
    <dgm:pt modelId="{5F065A7F-B387-4F09-8420-2A73A6C0C507}">
      <dgm:prSet/>
      <dgm:spPr/>
      <dgm:t>
        <a:bodyPr/>
        <a:lstStyle/>
        <a:p>
          <a:pPr rtl="0"/>
          <a:r>
            <a:rPr lang="en-CA" dirty="0"/>
            <a:t>Want to Refile like you EFILE?</a:t>
          </a:r>
        </a:p>
      </dgm:t>
    </dgm:pt>
    <dgm:pt modelId="{C1B36AC9-A764-48A8-BECC-13CA230F4ABF}" type="parTrans" cxnId="{136BF2DA-969E-4544-BABB-B04EFEFC7FB0}">
      <dgm:prSet/>
      <dgm:spPr/>
      <dgm:t>
        <a:bodyPr/>
        <a:lstStyle/>
        <a:p>
          <a:endParaRPr lang="en-US"/>
        </a:p>
      </dgm:t>
    </dgm:pt>
    <dgm:pt modelId="{C67DB0C8-6ECC-4BA0-BD16-205BE24FB9E2}" type="sibTrans" cxnId="{136BF2DA-969E-4544-BABB-B04EFEFC7FB0}">
      <dgm:prSet/>
      <dgm:spPr/>
      <dgm:t>
        <a:bodyPr/>
        <a:lstStyle/>
        <a:p>
          <a:endParaRPr lang="en-US"/>
        </a:p>
      </dgm:t>
    </dgm:pt>
    <dgm:pt modelId="{A778C7E2-D7AD-42CB-907C-7BFDFA07733D}">
      <dgm:prSet/>
      <dgm:spPr/>
      <dgm:t>
        <a:bodyPr/>
        <a:lstStyle/>
        <a:p>
          <a:pPr rtl="0"/>
          <a:r>
            <a:rPr lang="en-CA" dirty="0"/>
            <a:t>Info Page &gt; ReFile confirmation</a:t>
          </a:r>
        </a:p>
      </dgm:t>
    </dgm:pt>
    <dgm:pt modelId="{D195C87C-A6CD-4793-ABFE-AF6AC4C6A8AA}" type="parTrans" cxnId="{C9E075B2-4C7C-4C80-A5B3-ED24C58D0B9B}">
      <dgm:prSet/>
      <dgm:spPr/>
      <dgm:t>
        <a:bodyPr/>
        <a:lstStyle/>
        <a:p>
          <a:endParaRPr lang="en-US"/>
        </a:p>
      </dgm:t>
    </dgm:pt>
    <dgm:pt modelId="{2867E5C1-9A2D-478C-B80E-8A66F1E18C22}" type="sibTrans" cxnId="{C9E075B2-4C7C-4C80-A5B3-ED24C58D0B9B}">
      <dgm:prSet/>
      <dgm:spPr/>
      <dgm:t>
        <a:bodyPr/>
        <a:lstStyle/>
        <a:p>
          <a:endParaRPr lang="en-US"/>
        </a:p>
      </dgm:t>
    </dgm:pt>
    <dgm:pt modelId="{A2A580BD-B851-824A-8348-8B51C4073C04}" type="pres">
      <dgm:prSet presAssocID="{02BA0D8E-884F-D545-BFF7-95207C181DAB}" presName="vert0" presStyleCnt="0">
        <dgm:presLayoutVars>
          <dgm:dir/>
          <dgm:animOne val="branch"/>
          <dgm:animLvl val="lvl"/>
        </dgm:presLayoutVars>
      </dgm:prSet>
      <dgm:spPr/>
    </dgm:pt>
    <dgm:pt modelId="{F41FF1E1-38B6-3140-B079-CAF7B1E7AE87}" type="pres">
      <dgm:prSet presAssocID="{3CB6F0BF-076D-9F48-9A46-60028B6FE005}" presName="thickLine" presStyleLbl="alignNode1" presStyleIdx="0" presStyleCnt="1"/>
      <dgm:spPr/>
    </dgm:pt>
    <dgm:pt modelId="{538FA74A-594C-F744-B289-6255C5A8B44A}" type="pres">
      <dgm:prSet presAssocID="{3CB6F0BF-076D-9F48-9A46-60028B6FE005}" presName="horz1" presStyleCnt="0"/>
      <dgm:spPr/>
    </dgm:pt>
    <dgm:pt modelId="{66544C07-1350-B24E-A64C-0BE3649C332E}" type="pres">
      <dgm:prSet presAssocID="{3CB6F0BF-076D-9F48-9A46-60028B6FE005}" presName="tx1" presStyleLbl="revTx" presStyleIdx="0" presStyleCnt="7" custScaleX="155236"/>
      <dgm:spPr/>
    </dgm:pt>
    <dgm:pt modelId="{8390B576-AF6D-FD47-9D06-536B74745E22}" type="pres">
      <dgm:prSet presAssocID="{3CB6F0BF-076D-9F48-9A46-60028B6FE005}" presName="vert1" presStyleCnt="0"/>
      <dgm:spPr/>
    </dgm:pt>
    <dgm:pt modelId="{DEA320CF-1447-9748-8EDD-0679469D3AD4}" type="pres">
      <dgm:prSet presAssocID="{BCED7BB8-DEB5-4F92-B4AB-8FAA3206C294}" presName="vertSpace2a" presStyleCnt="0"/>
      <dgm:spPr/>
    </dgm:pt>
    <dgm:pt modelId="{07D82D7A-52FD-A743-8D63-D62FB3B442CE}" type="pres">
      <dgm:prSet presAssocID="{BCED7BB8-DEB5-4F92-B4AB-8FAA3206C294}" presName="horz2" presStyleCnt="0"/>
      <dgm:spPr/>
    </dgm:pt>
    <dgm:pt modelId="{DDC34A52-DCEC-484A-8D41-88F44C11DA08}" type="pres">
      <dgm:prSet presAssocID="{BCED7BB8-DEB5-4F92-B4AB-8FAA3206C294}" presName="horzSpace2" presStyleCnt="0"/>
      <dgm:spPr/>
    </dgm:pt>
    <dgm:pt modelId="{575AA55E-93D8-744F-A7CA-B9EDC3BBCC22}" type="pres">
      <dgm:prSet presAssocID="{BCED7BB8-DEB5-4F92-B4AB-8FAA3206C294}" presName="tx2" presStyleLbl="revTx" presStyleIdx="1" presStyleCnt="7"/>
      <dgm:spPr/>
    </dgm:pt>
    <dgm:pt modelId="{B9138483-C35A-484C-8AB0-11DA987CE993}" type="pres">
      <dgm:prSet presAssocID="{BCED7BB8-DEB5-4F92-B4AB-8FAA3206C294}" presName="vert2" presStyleCnt="0"/>
      <dgm:spPr/>
    </dgm:pt>
    <dgm:pt modelId="{4674C036-8D4D-614F-B420-9C25F56E712D}" type="pres">
      <dgm:prSet presAssocID="{BCED7BB8-DEB5-4F92-B4AB-8FAA3206C294}" presName="thinLine2b" presStyleLbl="callout" presStyleIdx="0" presStyleCnt="6"/>
      <dgm:spPr/>
    </dgm:pt>
    <dgm:pt modelId="{6C2011F6-3749-D342-B737-C3CC1EDFD42C}" type="pres">
      <dgm:prSet presAssocID="{BCED7BB8-DEB5-4F92-B4AB-8FAA3206C294}" presName="vertSpace2b" presStyleCnt="0"/>
      <dgm:spPr/>
    </dgm:pt>
    <dgm:pt modelId="{00B4C39A-AB01-864A-A595-976242B5D9CA}" type="pres">
      <dgm:prSet presAssocID="{887676CD-A875-4C59-9928-78560770E503}" presName="horz2" presStyleCnt="0"/>
      <dgm:spPr/>
    </dgm:pt>
    <dgm:pt modelId="{1BD89CC5-6618-C546-8DD5-3FB3658FA2AE}" type="pres">
      <dgm:prSet presAssocID="{887676CD-A875-4C59-9928-78560770E503}" presName="horzSpace2" presStyleCnt="0"/>
      <dgm:spPr/>
    </dgm:pt>
    <dgm:pt modelId="{66834077-89AD-D147-94FB-B441270E8034}" type="pres">
      <dgm:prSet presAssocID="{887676CD-A875-4C59-9928-78560770E503}" presName="tx2" presStyleLbl="revTx" presStyleIdx="2" presStyleCnt="7"/>
      <dgm:spPr/>
    </dgm:pt>
    <dgm:pt modelId="{344B4BF7-38B7-924A-BDB9-B3995E52C536}" type="pres">
      <dgm:prSet presAssocID="{887676CD-A875-4C59-9928-78560770E503}" presName="vert2" presStyleCnt="0"/>
      <dgm:spPr/>
    </dgm:pt>
    <dgm:pt modelId="{AF449373-9210-0E49-9C8D-F79088B2922A}" type="pres">
      <dgm:prSet presAssocID="{887676CD-A875-4C59-9928-78560770E503}" presName="thinLine2b" presStyleLbl="callout" presStyleIdx="1" presStyleCnt="6"/>
      <dgm:spPr/>
    </dgm:pt>
    <dgm:pt modelId="{95C6D8D9-D1A7-D849-8900-19A45ABF2A9E}" type="pres">
      <dgm:prSet presAssocID="{887676CD-A875-4C59-9928-78560770E503}" presName="vertSpace2b" presStyleCnt="0"/>
      <dgm:spPr/>
    </dgm:pt>
    <dgm:pt modelId="{C8BA6A09-9DC3-9348-91B2-CDD6F86196A0}" type="pres">
      <dgm:prSet presAssocID="{B5DBBD81-B2B2-4155-A3FE-98229E0A7AE0}" presName="horz2" presStyleCnt="0"/>
      <dgm:spPr/>
    </dgm:pt>
    <dgm:pt modelId="{7C070EF7-F363-854F-BA19-A984B7DC18B9}" type="pres">
      <dgm:prSet presAssocID="{B5DBBD81-B2B2-4155-A3FE-98229E0A7AE0}" presName="horzSpace2" presStyleCnt="0"/>
      <dgm:spPr/>
    </dgm:pt>
    <dgm:pt modelId="{AF45A721-B53C-FC46-92D2-5C90A65FDE45}" type="pres">
      <dgm:prSet presAssocID="{B5DBBD81-B2B2-4155-A3FE-98229E0A7AE0}" presName="tx2" presStyleLbl="revTx" presStyleIdx="3" presStyleCnt="7"/>
      <dgm:spPr/>
    </dgm:pt>
    <dgm:pt modelId="{E4F82F9A-CFAB-244D-B81C-802C5DB0265D}" type="pres">
      <dgm:prSet presAssocID="{B5DBBD81-B2B2-4155-A3FE-98229E0A7AE0}" presName="vert2" presStyleCnt="0"/>
      <dgm:spPr/>
    </dgm:pt>
    <dgm:pt modelId="{4E21421A-1A3B-DF48-BEF4-9C8CE9AAFF75}" type="pres">
      <dgm:prSet presAssocID="{B5DBBD81-B2B2-4155-A3FE-98229E0A7AE0}" presName="thinLine2b" presStyleLbl="callout" presStyleIdx="2" presStyleCnt="6"/>
      <dgm:spPr/>
    </dgm:pt>
    <dgm:pt modelId="{E447F15D-5C77-0846-8CC3-A4BEFA793CBF}" type="pres">
      <dgm:prSet presAssocID="{B5DBBD81-B2B2-4155-A3FE-98229E0A7AE0}" presName="vertSpace2b" presStyleCnt="0"/>
      <dgm:spPr/>
    </dgm:pt>
    <dgm:pt modelId="{7675E6FB-A2F5-484D-AEC8-48F631A33706}" type="pres">
      <dgm:prSet presAssocID="{E6DB487A-E060-4BF4-B3FD-82661905616D}" presName="horz2" presStyleCnt="0"/>
      <dgm:spPr/>
    </dgm:pt>
    <dgm:pt modelId="{E6BDF269-5B30-A745-A963-7CBEF9C75A3D}" type="pres">
      <dgm:prSet presAssocID="{E6DB487A-E060-4BF4-B3FD-82661905616D}" presName="horzSpace2" presStyleCnt="0"/>
      <dgm:spPr/>
    </dgm:pt>
    <dgm:pt modelId="{1943DF83-01FC-C846-BF80-909C1F7086D5}" type="pres">
      <dgm:prSet presAssocID="{E6DB487A-E060-4BF4-B3FD-82661905616D}" presName="tx2" presStyleLbl="revTx" presStyleIdx="4" presStyleCnt="7"/>
      <dgm:spPr/>
    </dgm:pt>
    <dgm:pt modelId="{928F21F9-EC48-9241-A58C-747F03373757}" type="pres">
      <dgm:prSet presAssocID="{E6DB487A-E060-4BF4-B3FD-82661905616D}" presName="vert2" presStyleCnt="0"/>
      <dgm:spPr/>
    </dgm:pt>
    <dgm:pt modelId="{6FCC9137-03F3-264B-9CA4-1300FE6DEA9B}" type="pres">
      <dgm:prSet presAssocID="{E6DB487A-E060-4BF4-B3FD-82661905616D}" presName="thinLine2b" presStyleLbl="callout" presStyleIdx="3" presStyleCnt="6"/>
      <dgm:spPr/>
    </dgm:pt>
    <dgm:pt modelId="{68F5E639-F9BD-1943-AEB4-B60308E39BCA}" type="pres">
      <dgm:prSet presAssocID="{E6DB487A-E060-4BF4-B3FD-82661905616D}" presName="vertSpace2b" presStyleCnt="0"/>
      <dgm:spPr/>
    </dgm:pt>
    <dgm:pt modelId="{21D21800-FF39-6C45-BEF1-055E54AB2AC2}" type="pres">
      <dgm:prSet presAssocID="{5F065A7F-B387-4F09-8420-2A73A6C0C507}" presName="horz2" presStyleCnt="0"/>
      <dgm:spPr/>
    </dgm:pt>
    <dgm:pt modelId="{1905E03F-F685-894B-8401-7D3CE40C9A35}" type="pres">
      <dgm:prSet presAssocID="{5F065A7F-B387-4F09-8420-2A73A6C0C507}" presName="horzSpace2" presStyleCnt="0"/>
      <dgm:spPr/>
    </dgm:pt>
    <dgm:pt modelId="{7800F958-BCD4-A64F-862E-A7FEAE4D934A}" type="pres">
      <dgm:prSet presAssocID="{5F065A7F-B387-4F09-8420-2A73A6C0C507}" presName="tx2" presStyleLbl="revTx" presStyleIdx="5" presStyleCnt="7"/>
      <dgm:spPr/>
    </dgm:pt>
    <dgm:pt modelId="{63BA8205-DD3E-B846-9903-BC835F3D8D59}" type="pres">
      <dgm:prSet presAssocID="{5F065A7F-B387-4F09-8420-2A73A6C0C507}" presName="vert2" presStyleCnt="0"/>
      <dgm:spPr/>
    </dgm:pt>
    <dgm:pt modelId="{77CABED2-3AC0-BC49-BC30-232C9425E40D}" type="pres">
      <dgm:prSet presAssocID="{5F065A7F-B387-4F09-8420-2A73A6C0C507}" presName="thinLine2b" presStyleLbl="callout" presStyleIdx="4" presStyleCnt="6"/>
      <dgm:spPr/>
    </dgm:pt>
    <dgm:pt modelId="{C048AD66-6B22-054A-B3E3-A9EEAFD6CEA9}" type="pres">
      <dgm:prSet presAssocID="{5F065A7F-B387-4F09-8420-2A73A6C0C507}" presName="vertSpace2b" presStyleCnt="0"/>
      <dgm:spPr/>
    </dgm:pt>
    <dgm:pt modelId="{E3204713-1423-7E42-AAE6-76FD653C4016}" type="pres">
      <dgm:prSet presAssocID="{A778C7E2-D7AD-42CB-907C-7BFDFA07733D}" presName="horz2" presStyleCnt="0"/>
      <dgm:spPr/>
    </dgm:pt>
    <dgm:pt modelId="{BCDB654C-E491-ED46-AE37-CBA1B953EC58}" type="pres">
      <dgm:prSet presAssocID="{A778C7E2-D7AD-42CB-907C-7BFDFA07733D}" presName="horzSpace2" presStyleCnt="0"/>
      <dgm:spPr/>
    </dgm:pt>
    <dgm:pt modelId="{BFC9378B-CF8D-F748-93CC-9C1C377AE399}" type="pres">
      <dgm:prSet presAssocID="{A778C7E2-D7AD-42CB-907C-7BFDFA07733D}" presName="tx2" presStyleLbl="revTx" presStyleIdx="6" presStyleCnt="7"/>
      <dgm:spPr/>
    </dgm:pt>
    <dgm:pt modelId="{A0121878-D1FF-EE40-B492-2949C3FB7FAC}" type="pres">
      <dgm:prSet presAssocID="{A778C7E2-D7AD-42CB-907C-7BFDFA07733D}" presName="vert2" presStyleCnt="0"/>
      <dgm:spPr/>
    </dgm:pt>
    <dgm:pt modelId="{220DE6F9-6155-0145-8106-FFB88146287E}" type="pres">
      <dgm:prSet presAssocID="{A778C7E2-D7AD-42CB-907C-7BFDFA07733D}" presName="thinLine2b" presStyleLbl="callout" presStyleIdx="5" presStyleCnt="6" custLinFactY="700000" custLinFactNeighborX="-1013" custLinFactNeighborY="718645"/>
      <dgm:spPr/>
    </dgm:pt>
    <dgm:pt modelId="{147F77AA-18D9-8542-8F65-6BA8A17F8ECB}" type="pres">
      <dgm:prSet presAssocID="{A778C7E2-D7AD-42CB-907C-7BFDFA07733D}" presName="vertSpace2b" presStyleCnt="0"/>
      <dgm:spPr/>
    </dgm:pt>
  </dgm:ptLst>
  <dgm:cxnLst>
    <dgm:cxn modelId="{CAAEB70A-EE21-4CB1-901B-F556C7FE44E0}" srcId="{3CB6F0BF-076D-9F48-9A46-60028B6FE005}" destId="{887676CD-A875-4C59-9928-78560770E503}" srcOrd="1" destOrd="0" parTransId="{877B7B99-6165-4E06-A9BD-033AE5AC893D}" sibTransId="{196E823A-776D-48CD-AEA8-9AAB5C64D43B}"/>
    <dgm:cxn modelId="{C5848D0B-5FD4-F24C-8859-2A2FE4A00863}" srcId="{02BA0D8E-884F-D545-BFF7-95207C181DAB}" destId="{3CB6F0BF-076D-9F48-9A46-60028B6FE005}" srcOrd="0" destOrd="0" parTransId="{63DF646F-8161-E746-81DE-E736BB880F3B}" sibTransId="{02B95B21-F90C-F54E-8161-72E219C98A93}"/>
    <dgm:cxn modelId="{AF7FB919-B4F1-4B28-89B9-8C6DFE5DBAE7}" srcId="{3CB6F0BF-076D-9F48-9A46-60028B6FE005}" destId="{E6DB487A-E060-4BF4-B3FD-82661905616D}" srcOrd="3" destOrd="0" parTransId="{3E9BCCB0-43FA-424D-8758-FF3D399D08EA}" sibTransId="{AE9AADCD-8923-482C-BE88-A805BCEA006D}"/>
    <dgm:cxn modelId="{508AC530-0517-034E-BFC6-F130C5626B6A}" type="presOf" srcId="{A778C7E2-D7AD-42CB-907C-7BFDFA07733D}" destId="{BFC9378B-CF8D-F748-93CC-9C1C377AE399}" srcOrd="0" destOrd="0" presId="urn:microsoft.com/office/officeart/2008/layout/LinedList"/>
    <dgm:cxn modelId="{D0A81350-A200-4445-8F26-F180A38F23E2}" srcId="{3CB6F0BF-076D-9F48-9A46-60028B6FE005}" destId="{BCED7BB8-DEB5-4F92-B4AB-8FAA3206C294}" srcOrd="0" destOrd="0" parTransId="{19192E39-CBB0-4E45-BB36-38DD6C39D4E8}" sibTransId="{E0B99025-BA52-4969-A69A-5870B44D96F1}"/>
    <dgm:cxn modelId="{B3B6B95E-1961-FE49-B32A-6D4AE75FF33C}" type="presOf" srcId="{E6DB487A-E060-4BF4-B3FD-82661905616D}" destId="{1943DF83-01FC-C846-BF80-909C1F7086D5}" srcOrd="0" destOrd="0" presId="urn:microsoft.com/office/officeart/2008/layout/LinedList"/>
    <dgm:cxn modelId="{02DA3F94-E667-8140-A255-9EFABAD17A37}" type="presOf" srcId="{BCED7BB8-DEB5-4F92-B4AB-8FAA3206C294}" destId="{575AA55E-93D8-744F-A7CA-B9EDC3BBCC22}" srcOrd="0" destOrd="0" presId="urn:microsoft.com/office/officeart/2008/layout/LinedList"/>
    <dgm:cxn modelId="{C9E075B2-4C7C-4C80-A5B3-ED24C58D0B9B}" srcId="{3CB6F0BF-076D-9F48-9A46-60028B6FE005}" destId="{A778C7E2-D7AD-42CB-907C-7BFDFA07733D}" srcOrd="5" destOrd="0" parTransId="{D195C87C-A6CD-4793-ABFE-AF6AC4C6A8AA}" sibTransId="{2867E5C1-9A2D-478C-B80E-8A66F1E18C22}"/>
    <dgm:cxn modelId="{81C1F1D6-75AE-447C-B42A-20051D7F8200}" srcId="{3CB6F0BF-076D-9F48-9A46-60028B6FE005}" destId="{B5DBBD81-B2B2-4155-A3FE-98229E0A7AE0}" srcOrd="2" destOrd="0" parTransId="{CEFEA65D-0D38-4BB6-A3DE-247D80F461C6}" sibTransId="{A4B1557F-FA79-43ED-A89A-EC4842D54D9A}"/>
    <dgm:cxn modelId="{136BF2DA-969E-4544-BABB-B04EFEFC7FB0}" srcId="{3CB6F0BF-076D-9F48-9A46-60028B6FE005}" destId="{5F065A7F-B387-4F09-8420-2A73A6C0C507}" srcOrd="4" destOrd="0" parTransId="{C1B36AC9-A764-48A8-BECC-13CA230F4ABF}" sibTransId="{C67DB0C8-6ECC-4BA0-BD16-205BE24FB9E2}"/>
    <dgm:cxn modelId="{9BCD15DC-3BA8-0346-8416-4CB9C9CE4CB6}" type="presOf" srcId="{B5DBBD81-B2B2-4155-A3FE-98229E0A7AE0}" destId="{AF45A721-B53C-FC46-92D2-5C90A65FDE45}" srcOrd="0" destOrd="0" presId="urn:microsoft.com/office/officeart/2008/layout/LinedList"/>
    <dgm:cxn modelId="{F6454AE6-3CDB-914C-9EE3-A173510B1605}" type="presOf" srcId="{887676CD-A875-4C59-9928-78560770E503}" destId="{66834077-89AD-D147-94FB-B441270E8034}" srcOrd="0" destOrd="0" presId="urn:microsoft.com/office/officeart/2008/layout/LinedList"/>
    <dgm:cxn modelId="{112B32EF-D45F-3241-8E4A-4262478DCE44}" type="presOf" srcId="{02BA0D8E-884F-D545-BFF7-95207C181DAB}" destId="{A2A580BD-B851-824A-8348-8B51C4073C04}" srcOrd="0" destOrd="0" presId="urn:microsoft.com/office/officeart/2008/layout/LinedList"/>
    <dgm:cxn modelId="{57EFD1F3-DF1A-7B44-93CC-C0974AAD9E54}" type="presOf" srcId="{3CB6F0BF-076D-9F48-9A46-60028B6FE005}" destId="{66544C07-1350-B24E-A64C-0BE3649C332E}" srcOrd="0" destOrd="0" presId="urn:microsoft.com/office/officeart/2008/layout/LinedList"/>
    <dgm:cxn modelId="{502F86F4-8042-E444-AA14-87A5C389E3CB}" type="presOf" srcId="{5F065A7F-B387-4F09-8420-2A73A6C0C507}" destId="{7800F958-BCD4-A64F-862E-A7FEAE4D934A}" srcOrd="0" destOrd="0" presId="urn:microsoft.com/office/officeart/2008/layout/LinedList"/>
    <dgm:cxn modelId="{CD4E48FD-BDEB-BD40-8EA6-A2B714553FC3}" type="presParOf" srcId="{A2A580BD-B851-824A-8348-8B51C4073C04}" destId="{F41FF1E1-38B6-3140-B079-CAF7B1E7AE87}" srcOrd="0" destOrd="0" presId="urn:microsoft.com/office/officeart/2008/layout/LinedList"/>
    <dgm:cxn modelId="{129183DF-E413-954C-8DC7-181BB2F98F9B}" type="presParOf" srcId="{A2A580BD-B851-824A-8348-8B51C4073C04}" destId="{538FA74A-594C-F744-B289-6255C5A8B44A}" srcOrd="1" destOrd="0" presId="urn:microsoft.com/office/officeart/2008/layout/LinedList"/>
    <dgm:cxn modelId="{18FB37D6-159B-0A4A-B892-61A5CD72E3C8}" type="presParOf" srcId="{538FA74A-594C-F744-B289-6255C5A8B44A}" destId="{66544C07-1350-B24E-A64C-0BE3649C332E}" srcOrd="0" destOrd="0" presId="urn:microsoft.com/office/officeart/2008/layout/LinedList"/>
    <dgm:cxn modelId="{139EC475-49D4-CE4B-B26E-F603FFFC7808}" type="presParOf" srcId="{538FA74A-594C-F744-B289-6255C5A8B44A}" destId="{8390B576-AF6D-FD47-9D06-536B74745E22}" srcOrd="1" destOrd="0" presId="urn:microsoft.com/office/officeart/2008/layout/LinedList"/>
    <dgm:cxn modelId="{73C75805-765C-4A43-B9EB-EA235FE20606}" type="presParOf" srcId="{8390B576-AF6D-FD47-9D06-536B74745E22}" destId="{DEA320CF-1447-9748-8EDD-0679469D3AD4}" srcOrd="0" destOrd="0" presId="urn:microsoft.com/office/officeart/2008/layout/LinedList"/>
    <dgm:cxn modelId="{655E76B0-A4D1-364A-9B90-B54DCC6193AB}" type="presParOf" srcId="{8390B576-AF6D-FD47-9D06-536B74745E22}" destId="{07D82D7A-52FD-A743-8D63-D62FB3B442CE}" srcOrd="1" destOrd="0" presId="urn:microsoft.com/office/officeart/2008/layout/LinedList"/>
    <dgm:cxn modelId="{6B06BBA6-B4B0-C845-93A8-A7164456F829}" type="presParOf" srcId="{07D82D7A-52FD-A743-8D63-D62FB3B442CE}" destId="{DDC34A52-DCEC-484A-8D41-88F44C11DA08}" srcOrd="0" destOrd="0" presId="urn:microsoft.com/office/officeart/2008/layout/LinedList"/>
    <dgm:cxn modelId="{887C8BB3-A64E-F34D-9C9D-9CF911072343}" type="presParOf" srcId="{07D82D7A-52FD-A743-8D63-D62FB3B442CE}" destId="{575AA55E-93D8-744F-A7CA-B9EDC3BBCC22}" srcOrd="1" destOrd="0" presId="urn:microsoft.com/office/officeart/2008/layout/LinedList"/>
    <dgm:cxn modelId="{7DA1DB9E-E53D-AB43-AE74-AC1EBA9E69C2}" type="presParOf" srcId="{07D82D7A-52FD-A743-8D63-D62FB3B442CE}" destId="{B9138483-C35A-484C-8AB0-11DA987CE993}" srcOrd="2" destOrd="0" presId="urn:microsoft.com/office/officeart/2008/layout/LinedList"/>
    <dgm:cxn modelId="{29CD61F6-0AA7-9A41-8FB3-807E42117282}" type="presParOf" srcId="{8390B576-AF6D-FD47-9D06-536B74745E22}" destId="{4674C036-8D4D-614F-B420-9C25F56E712D}" srcOrd="2" destOrd="0" presId="urn:microsoft.com/office/officeart/2008/layout/LinedList"/>
    <dgm:cxn modelId="{6A4204B5-BBAC-F743-B242-A211872F7013}" type="presParOf" srcId="{8390B576-AF6D-FD47-9D06-536B74745E22}" destId="{6C2011F6-3749-D342-B737-C3CC1EDFD42C}" srcOrd="3" destOrd="0" presId="urn:microsoft.com/office/officeart/2008/layout/LinedList"/>
    <dgm:cxn modelId="{8FD3BF00-9DE0-1241-B110-5C68E4B1651E}" type="presParOf" srcId="{8390B576-AF6D-FD47-9D06-536B74745E22}" destId="{00B4C39A-AB01-864A-A595-976242B5D9CA}" srcOrd="4" destOrd="0" presId="urn:microsoft.com/office/officeart/2008/layout/LinedList"/>
    <dgm:cxn modelId="{E2BED17E-CD56-5745-A3E4-09F77C88FF2E}" type="presParOf" srcId="{00B4C39A-AB01-864A-A595-976242B5D9CA}" destId="{1BD89CC5-6618-C546-8DD5-3FB3658FA2AE}" srcOrd="0" destOrd="0" presId="urn:microsoft.com/office/officeart/2008/layout/LinedList"/>
    <dgm:cxn modelId="{941C461E-CB50-2246-B86F-4CF0655777C4}" type="presParOf" srcId="{00B4C39A-AB01-864A-A595-976242B5D9CA}" destId="{66834077-89AD-D147-94FB-B441270E8034}" srcOrd="1" destOrd="0" presId="urn:microsoft.com/office/officeart/2008/layout/LinedList"/>
    <dgm:cxn modelId="{B9EB900B-835C-4A42-B62C-F6D6317EF12E}" type="presParOf" srcId="{00B4C39A-AB01-864A-A595-976242B5D9CA}" destId="{344B4BF7-38B7-924A-BDB9-B3995E52C536}" srcOrd="2" destOrd="0" presId="urn:microsoft.com/office/officeart/2008/layout/LinedList"/>
    <dgm:cxn modelId="{2325C5DD-2769-DB47-ADA8-62C3270E9EAE}" type="presParOf" srcId="{8390B576-AF6D-FD47-9D06-536B74745E22}" destId="{AF449373-9210-0E49-9C8D-F79088B2922A}" srcOrd="5" destOrd="0" presId="urn:microsoft.com/office/officeart/2008/layout/LinedList"/>
    <dgm:cxn modelId="{E7DD3719-D99F-C64C-B8E2-89C6EA90578B}" type="presParOf" srcId="{8390B576-AF6D-FD47-9D06-536B74745E22}" destId="{95C6D8D9-D1A7-D849-8900-19A45ABF2A9E}" srcOrd="6" destOrd="0" presId="urn:microsoft.com/office/officeart/2008/layout/LinedList"/>
    <dgm:cxn modelId="{100F159D-3E1D-F647-AC7D-F88CE0E52D55}" type="presParOf" srcId="{8390B576-AF6D-FD47-9D06-536B74745E22}" destId="{C8BA6A09-9DC3-9348-91B2-CDD6F86196A0}" srcOrd="7" destOrd="0" presId="urn:microsoft.com/office/officeart/2008/layout/LinedList"/>
    <dgm:cxn modelId="{1A0D6F14-55A8-A44D-89B9-2FB869C23C2B}" type="presParOf" srcId="{C8BA6A09-9DC3-9348-91B2-CDD6F86196A0}" destId="{7C070EF7-F363-854F-BA19-A984B7DC18B9}" srcOrd="0" destOrd="0" presId="urn:microsoft.com/office/officeart/2008/layout/LinedList"/>
    <dgm:cxn modelId="{D1E81E68-E555-7E42-BB64-8CC939783082}" type="presParOf" srcId="{C8BA6A09-9DC3-9348-91B2-CDD6F86196A0}" destId="{AF45A721-B53C-FC46-92D2-5C90A65FDE45}" srcOrd="1" destOrd="0" presId="urn:microsoft.com/office/officeart/2008/layout/LinedList"/>
    <dgm:cxn modelId="{FD5A2B71-2854-884E-85DF-6E4066E6C4BB}" type="presParOf" srcId="{C8BA6A09-9DC3-9348-91B2-CDD6F86196A0}" destId="{E4F82F9A-CFAB-244D-B81C-802C5DB0265D}" srcOrd="2" destOrd="0" presId="urn:microsoft.com/office/officeart/2008/layout/LinedList"/>
    <dgm:cxn modelId="{80634260-DAB4-6243-98EF-8463C190A2C5}" type="presParOf" srcId="{8390B576-AF6D-FD47-9D06-536B74745E22}" destId="{4E21421A-1A3B-DF48-BEF4-9C8CE9AAFF75}" srcOrd="8" destOrd="0" presId="urn:microsoft.com/office/officeart/2008/layout/LinedList"/>
    <dgm:cxn modelId="{C4A54859-9958-BA41-9713-A24BB5D7E1E8}" type="presParOf" srcId="{8390B576-AF6D-FD47-9D06-536B74745E22}" destId="{E447F15D-5C77-0846-8CC3-A4BEFA793CBF}" srcOrd="9" destOrd="0" presId="urn:microsoft.com/office/officeart/2008/layout/LinedList"/>
    <dgm:cxn modelId="{16FA56FF-AF9E-AA40-A821-A9B74D0057B2}" type="presParOf" srcId="{8390B576-AF6D-FD47-9D06-536B74745E22}" destId="{7675E6FB-A2F5-484D-AEC8-48F631A33706}" srcOrd="10" destOrd="0" presId="urn:microsoft.com/office/officeart/2008/layout/LinedList"/>
    <dgm:cxn modelId="{DFB41234-B899-F24D-B7DC-8EC2705D65F0}" type="presParOf" srcId="{7675E6FB-A2F5-484D-AEC8-48F631A33706}" destId="{E6BDF269-5B30-A745-A963-7CBEF9C75A3D}" srcOrd="0" destOrd="0" presId="urn:microsoft.com/office/officeart/2008/layout/LinedList"/>
    <dgm:cxn modelId="{96E4CB4E-EB83-B44B-A98D-34D1B2FE10A8}" type="presParOf" srcId="{7675E6FB-A2F5-484D-AEC8-48F631A33706}" destId="{1943DF83-01FC-C846-BF80-909C1F7086D5}" srcOrd="1" destOrd="0" presId="urn:microsoft.com/office/officeart/2008/layout/LinedList"/>
    <dgm:cxn modelId="{24A035D9-6623-BA44-8572-223E46807C85}" type="presParOf" srcId="{7675E6FB-A2F5-484D-AEC8-48F631A33706}" destId="{928F21F9-EC48-9241-A58C-747F03373757}" srcOrd="2" destOrd="0" presId="urn:microsoft.com/office/officeart/2008/layout/LinedList"/>
    <dgm:cxn modelId="{11E8DF53-C676-6B49-AD3F-53304751A87A}" type="presParOf" srcId="{8390B576-AF6D-FD47-9D06-536B74745E22}" destId="{6FCC9137-03F3-264B-9CA4-1300FE6DEA9B}" srcOrd="11" destOrd="0" presId="urn:microsoft.com/office/officeart/2008/layout/LinedList"/>
    <dgm:cxn modelId="{06B3B952-4646-2243-AC01-C55D51121AA8}" type="presParOf" srcId="{8390B576-AF6D-FD47-9D06-536B74745E22}" destId="{68F5E639-F9BD-1943-AEB4-B60308E39BCA}" srcOrd="12" destOrd="0" presId="urn:microsoft.com/office/officeart/2008/layout/LinedList"/>
    <dgm:cxn modelId="{42556898-7A05-DE44-900F-DA64449AA3F1}" type="presParOf" srcId="{8390B576-AF6D-FD47-9D06-536B74745E22}" destId="{21D21800-FF39-6C45-BEF1-055E54AB2AC2}" srcOrd="13" destOrd="0" presId="urn:microsoft.com/office/officeart/2008/layout/LinedList"/>
    <dgm:cxn modelId="{0DF12F7F-B987-C24C-88C3-390203A1BA78}" type="presParOf" srcId="{21D21800-FF39-6C45-BEF1-055E54AB2AC2}" destId="{1905E03F-F685-894B-8401-7D3CE40C9A35}" srcOrd="0" destOrd="0" presId="urn:microsoft.com/office/officeart/2008/layout/LinedList"/>
    <dgm:cxn modelId="{D59B354C-4482-304F-A18F-7BA7F63AE2F6}" type="presParOf" srcId="{21D21800-FF39-6C45-BEF1-055E54AB2AC2}" destId="{7800F958-BCD4-A64F-862E-A7FEAE4D934A}" srcOrd="1" destOrd="0" presId="urn:microsoft.com/office/officeart/2008/layout/LinedList"/>
    <dgm:cxn modelId="{18E2E155-6ED2-8546-BD6F-471C23AF421D}" type="presParOf" srcId="{21D21800-FF39-6C45-BEF1-055E54AB2AC2}" destId="{63BA8205-DD3E-B846-9903-BC835F3D8D59}" srcOrd="2" destOrd="0" presId="urn:microsoft.com/office/officeart/2008/layout/LinedList"/>
    <dgm:cxn modelId="{09331D50-FE36-8745-AD73-CB31350F4719}" type="presParOf" srcId="{8390B576-AF6D-FD47-9D06-536B74745E22}" destId="{77CABED2-3AC0-BC49-BC30-232C9425E40D}" srcOrd="14" destOrd="0" presId="urn:microsoft.com/office/officeart/2008/layout/LinedList"/>
    <dgm:cxn modelId="{DB53FFF9-9CE3-1843-8F42-9EC0E06AA971}" type="presParOf" srcId="{8390B576-AF6D-FD47-9D06-536B74745E22}" destId="{C048AD66-6B22-054A-B3E3-A9EEAFD6CEA9}" srcOrd="15" destOrd="0" presId="urn:microsoft.com/office/officeart/2008/layout/LinedList"/>
    <dgm:cxn modelId="{DF5A35BA-AFC7-CE4D-BE05-3F7354BF44AE}" type="presParOf" srcId="{8390B576-AF6D-FD47-9D06-536B74745E22}" destId="{E3204713-1423-7E42-AAE6-76FD653C4016}" srcOrd="16" destOrd="0" presId="urn:microsoft.com/office/officeart/2008/layout/LinedList"/>
    <dgm:cxn modelId="{6C0D0CEC-2923-994F-BA57-02CB889F3241}" type="presParOf" srcId="{E3204713-1423-7E42-AAE6-76FD653C4016}" destId="{BCDB654C-E491-ED46-AE37-CBA1B953EC58}" srcOrd="0" destOrd="0" presId="urn:microsoft.com/office/officeart/2008/layout/LinedList"/>
    <dgm:cxn modelId="{A6BA7003-2F94-A846-9A88-EAD498910654}" type="presParOf" srcId="{E3204713-1423-7E42-AAE6-76FD653C4016}" destId="{BFC9378B-CF8D-F748-93CC-9C1C377AE399}" srcOrd="1" destOrd="0" presId="urn:microsoft.com/office/officeart/2008/layout/LinedList"/>
    <dgm:cxn modelId="{4BB248EA-2A05-DF48-B845-DE1189B02F3D}" type="presParOf" srcId="{E3204713-1423-7E42-AAE6-76FD653C4016}" destId="{A0121878-D1FF-EE40-B492-2949C3FB7FAC}" srcOrd="2" destOrd="0" presId="urn:microsoft.com/office/officeart/2008/layout/LinedList"/>
    <dgm:cxn modelId="{9FC185FB-FFA5-B74F-BD93-09551D2E3BD5}" type="presParOf" srcId="{8390B576-AF6D-FD47-9D06-536B74745E22}" destId="{220DE6F9-6155-0145-8106-FFB88146287E}" srcOrd="17" destOrd="0" presId="urn:microsoft.com/office/officeart/2008/layout/LinedList"/>
    <dgm:cxn modelId="{DEEBC478-50F1-A446-A16C-94C9052675BC}" type="presParOf" srcId="{8390B576-AF6D-FD47-9D06-536B74745E22}" destId="{147F77AA-18D9-8542-8F65-6BA8A17F8ECB}" srcOrd="18"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18BC58-B153-F54E-BC39-402D01D958F5}">
      <dsp:nvSpPr>
        <dsp:cNvPr id="0" name=""/>
        <dsp:cNvSpPr/>
      </dsp:nvSpPr>
      <dsp:spPr>
        <a:xfrm>
          <a:off x="0" y="334"/>
          <a:ext cx="4038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EAA488E-7C8E-A647-A065-21BBF67AE1ED}">
      <dsp:nvSpPr>
        <dsp:cNvPr id="0" name=""/>
        <dsp:cNvSpPr/>
      </dsp:nvSpPr>
      <dsp:spPr>
        <a:xfrm>
          <a:off x="0" y="334"/>
          <a:ext cx="40386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accessing </a:t>
          </a:r>
        </a:p>
      </dsp:txBody>
      <dsp:txXfrm>
        <a:off x="0" y="334"/>
        <a:ext cx="4038600" cy="548506"/>
      </dsp:txXfrm>
    </dsp:sp>
    <dsp:sp modelId="{59BF4ACA-F4A7-4B4E-AAF2-38E8E874493D}">
      <dsp:nvSpPr>
        <dsp:cNvPr id="0" name=""/>
        <dsp:cNvSpPr/>
      </dsp:nvSpPr>
      <dsp:spPr>
        <a:xfrm>
          <a:off x="0" y="548840"/>
          <a:ext cx="4038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276E09A-6BF8-944F-ADC3-960104B59052}">
      <dsp:nvSpPr>
        <dsp:cNvPr id="0" name=""/>
        <dsp:cNvSpPr/>
      </dsp:nvSpPr>
      <dsp:spPr>
        <a:xfrm>
          <a:off x="0" y="548840"/>
          <a:ext cx="40386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online toolbar</a:t>
          </a:r>
        </a:p>
      </dsp:txBody>
      <dsp:txXfrm>
        <a:off x="0" y="548840"/>
        <a:ext cx="4038600" cy="548506"/>
      </dsp:txXfrm>
    </dsp:sp>
    <dsp:sp modelId="{56129CF7-A647-D540-A775-2E3803071A68}">
      <dsp:nvSpPr>
        <dsp:cNvPr id="0" name=""/>
        <dsp:cNvSpPr/>
      </dsp:nvSpPr>
      <dsp:spPr>
        <a:xfrm>
          <a:off x="0" y="1097346"/>
          <a:ext cx="4038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6BFE93F-8974-FE4C-B83A-D03EAAA864DB}">
      <dsp:nvSpPr>
        <dsp:cNvPr id="0" name=""/>
        <dsp:cNvSpPr/>
      </dsp:nvSpPr>
      <dsp:spPr>
        <a:xfrm>
          <a:off x="0" y="1097346"/>
          <a:ext cx="40386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live chat</a:t>
          </a:r>
        </a:p>
      </dsp:txBody>
      <dsp:txXfrm>
        <a:off x="0" y="1097346"/>
        <a:ext cx="4038600" cy="548506"/>
      </dsp:txXfrm>
    </dsp:sp>
    <dsp:sp modelId="{DFA84CE4-BBB6-4146-A68F-78235E11CB6A}">
      <dsp:nvSpPr>
        <dsp:cNvPr id="0" name=""/>
        <dsp:cNvSpPr/>
      </dsp:nvSpPr>
      <dsp:spPr>
        <a:xfrm>
          <a:off x="0" y="1645853"/>
          <a:ext cx="4038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81FE752-7EAE-894E-80EF-F8C49917CDA9}">
      <dsp:nvSpPr>
        <dsp:cNvPr id="0" name=""/>
        <dsp:cNvSpPr/>
      </dsp:nvSpPr>
      <dsp:spPr>
        <a:xfrm>
          <a:off x="0" y="1645853"/>
          <a:ext cx="40386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notification centre</a:t>
          </a:r>
        </a:p>
      </dsp:txBody>
      <dsp:txXfrm>
        <a:off x="0" y="1645853"/>
        <a:ext cx="4038600" cy="548506"/>
      </dsp:txXfrm>
    </dsp:sp>
    <dsp:sp modelId="{037FEEB9-F06D-7B43-8599-EABF92411AE1}">
      <dsp:nvSpPr>
        <dsp:cNvPr id="0" name=""/>
        <dsp:cNvSpPr/>
      </dsp:nvSpPr>
      <dsp:spPr>
        <a:xfrm>
          <a:off x="0" y="2194359"/>
          <a:ext cx="4038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D6EBB09-889D-6A43-A177-12793FAC1E1D}">
      <dsp:nvSpPr>
        <dsp:cNvPr id="0" name=""/>
        <dsp:cNvSpPr/>
      </dsp:nvSpPr>
      <dsp:spPr>
        <a:xfrm>
          <a:off x="0" y="2194359"/>
          <a:ext cx="4038600" cy="5485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online setting</a:t>
          </a:r>
        </a:p>
      </dsp:txBody>
      <dsp:txXfrm>
        <a:off x="0" y="2194359"/>
        <a:ext cx="4038600" cy="54850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5</a:t>
          </a:r>
        </a:p>
      </dsp:txBody>
      <dsp:txXfrm>
        <a:off x="179383" y="198196"/>
        <a:ext cx="866141" cy="86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5-9</a:t>
          </a:r>
        </a:p>
      </dsp:txBody>
      <dsp:txXfrm>
        <a:off x="179383" y="198196"/>
        <a:ext cx="866141" cy="866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07A7DD-0C3F-2447-8179-0322DD759F2B}">
      <dsp:nvSpPr>
        <dsp:cNvPr id="0" name=""/>
        <dsp:cNvSpPr/>
      </dsp:nvSpPr>
      <dsp:spPr>
        <a:xfrm>
          <a:off x="0" y="0"/>
          <a:ext cx="51181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CFBC554-5A85-F84B-AFF1-8C435488DC7F}">
      <dsp:nvSpPr>
        <dsp:cNvPr id="0" name=""/>
        <dsp:cNvSpPr/>
      </dsp:nvSpPr>
      <dsp:spPr>
        <a:xfrm>
          <a:off x="0" y="0"/>
          <a:ext cx="1023620" cy="1765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CA" sz="1600" kern="1200" dirty="0"/>
            <a:t>What is it?</a:t>
          </a:r>
        </a:p>
      </dsp:txBody>
      <dsp:txXfrm>
        <a:off x="0" y="0"/>
        <a:ext cx="1023620" cy="1765299"/>
      </dsp:txXfrm>
    </dsp:sp>
    <dsp:sp modelId="{77705F56-1F8B-3C4E-8EE7-A1D664165CBE}">
      <dsp:nvSpPr>
        <dsp:cNvPr id="0" name=""/>
        <dsp:cNvSpPr/>
      </dsp:nvSpPr>
      <dsp:spPr>
        <a:xfrm>
          <a:off x="1100391" y="80162"/>
          <a:ext cx="4017708" cy="1603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Auto-populate tax fields from </a:t>
          </a:r>
          <a:r>
            <a:rPr lang="en-CA" sz="2800" kern="1200"/>
            <a:t>CRA  site</a:t>
          </a:r>
          <a:endParaRPr lang="en-CA" sz="2800" kern="1200" dirty="0"/>
        </a:p>
      </dsp:txBody>
      <dsp:txXfrm>
        <a:off x="1100391" y="80162"/>
        <a:ext cx="4017708" cy="1603250"/>
      </dsp:txXfrm>
    </dsp:sp>
    <dsp:sp modelId="{EEB14756-5CD8-6846-BB1E-7D0721E9804F}">
      <dsp:nvSpPr>
        <dsp:cNvPr id="0" name=""/>
        <dsp:cNvSpPr/>
      </dsp:nvSpPr>
      <dsp:spPr>
        <a:xfrm>
          <a:off x="1023620" y="1683413"/>
          <a:ext cx="409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912C66AE-4CDE-E240-8CFE-3107686AA3B9}">
      <dsp:nvSpPr>
        <dsp:cNvPr id="0" name=""/>
        <dsp:cNvSpPr/>
      </dsp:nvSpPr>
      <dsp:spPr>
        <a:xfrm>
          <a:off x="0" y="1765299"/>
          <a:ext cx="51181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16647AA-0BB2-D74C-8374-D312115C53FD}">
      <dsp:nvSpPr>
        <dsp:cNvPr id="0" name=""/>
        <dsp:cNvSpPr/>
      </dsp:nvSpPr>
      <dsp:spPr>
        <a:xfrm>
          <a:off x="0" y="1765299"/>
          <a:ext cx="1023620" cy="17652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CA" sz="1600" kern="1200" dirty="0"/>
            <a:t>What's required? </a:t>
          </a:r>
        </a:p>
      </dsp:txBody>
      <dsp:txXfrm>
        <a:off x="0" y="1765299"/>
        <a:ext cx="1023620" cy="1765299"/>
      </dsp:txXfrm>
    </dsp:sp>
    <dsp:sp modelId="{937AE9EB-113C-EB4C-8FCE-5B0902B3F89E}">
      <dsp:nvSpPr>
        <dsp:cNvPr id="0" name=""/>
        <dsp:cNvSpPr/>
      </dsp:nvSpPr>
      <dsp:spPr>
        <a:xfrm>
          <a:off x="1100391" y="1806329"/>
          <a:ext cx="4017708" cy="82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Rep a client access</a:t>
          </a:r>
        </a:p>
      </dsp:txBody>
      <dsp:txXfrm>
        <a:off x="1100391" y="1806329"/>
        <a:ext cx="4017708" cy="820588"/>
      </dsp:txXfrm>
    </dsp:sp>
    <dsp:sp modelId="{ADA0B21C-D0D2-1D46-8348-7231F114A087}">
      <dsp:nvSpPr>
        <dsp:cNvPr id="0" name=""/>
        <dsp:cNvSpPr/>
      </dsp:nvSpPr>
      <dsp:spPr>
        <a:xfrm>
          <a:off x="1023620" y="2626918"/>
          <a:ext cx="409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AB17B3C0-8B4E-8447-85D8-ED4C27435E36}">
      <dsp:nvSpPr>
        <dsp:cNvPr id="0" name=""/>
        <dsp:cNvSpPr/>
      </dsp:nvSpPr>
      <dsp:spPr>
        <a:xfrm>
          <a:off x="1100391" y="2667947"/>
          <a:ext cx="4017708" cy="8205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Signed </a:t>
          </a:r>
          <a:r>
            <a:rPr lang="en-CA" sz="2800" i="1" kern="1200" dirty="0"/>
            <a:t>Authorize a Rep</a:t>
          </a:r>
          <a:endParaRPr lang="en-CA" sz="2800" kern="1200" dirty="0"/>
        </a:p>
      </dsp:txBody>
      <dsp:txXfrm>
        <a:off x="1100391" y="2667947"/>
        <a:ext cx="4017708" cy="820588"/>
      </dsp:txXfrm>
    </dsp:sp>
    <dsp:sp modelId="{DC486AB2-0141-824C-933A-3465454A994A}">
      <dsp:nvSpPr>
        <dsp:cNvPr id="0" name=""/>
        <dsp:cNvSpPr/>
      </dsp:nvSpPr>
      <dsp:spPr>
        <a:xfrm>
          <a:off x="1023620" y="3488536"/>
          <a:ext cx="409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9</a:t>
          </a:r>
        </a:p>
      </dsp:txBody>
      <dsp:txXfrm>
        <a:off x="179383" y="198196"/>
        <a:ext cx="866141" cy="8661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11-12</a:t>
          </a:r>
        </a:p>
      </dsp:txBody>
      <dsp:txXfrm>
        <a:off x="179383" y="198196"/>
        <a:ext cx="866141" cy="8661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2</a:t>
          </a:r>
        </a:p>
      </dsp:txBody>
      <dsp:txXfrm>
        <a:off x="179383" y="198196"/>
        <a:ext cx="866141" cy="8661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E829F3-4F82-664E-BE04-D4B5DFA5DAC9}">
      <dsp:nvSpPr>
        <dsp:cNvPr id="0" name=""/>
        <dsp:cNvSpPr/>
      </dsp:nvSpPr>
      <dsp:spPr>
        <a:xfrm>
          <a:off x="0" y="349"/>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D4B38D2-EFA1-A649-AE0D-8E40EC4DBD9E}">
      <dsp:nvSpPr>
        <dsp:cNvPr id="0" name=""/>
        <dsp:cNvSpPr/>
      </dsp:nvSpPr>
      <dsp:spPr>
        <a:xfrm>
          <a:off x="0" y="349"/>
          <a:ext cx="3048000" cy="57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T1 ReFile</a:t>
          </a:r>
        </a:p>
      </dsp:txBody>
      <dsp:txXfrm>
        <a:off x="0" y="349"/>
        <a:ext cx="3048000" cy="572060"/>
      </dsp:txXfrm>
    </dsp:sp>
    <dsp:sp modelId="{9EA960B4-92C1-DE4A-9D51-D0201D44DFBF}">
      <dsp:nvSpPr>
        <dsp:cNvPr id="0" name=""/>
        <dsp:cNvSpPr/>
      </dsp:nvSpPr>
      <dsp:spPr>
        <a:xfrm>
          <a:off x="0" y="572409"/>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030C30B-370D-7241-AF2C-5AEA1C89826D}">
      <dsp:nvSpPr>
        <dsp:cNvPr id="0" name=""/>
        <dsp:cNvSpPr/>
      </dsp:nvSpPr>
      <dsp:spPr>
        <a:xfrm>
          <a:off x="0" y="572409"/>
          <a:ext cx="3048000" cy="57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Who can use?</a:t>
          </a:r>
        </a:p>
      </dsp:txBody>
      <dsp:txXfrm>
        <a:off x="0" y="572409"/>
        <a:ext cx="3048000" cy="572060"/>
      </dsp:txXfrm>
    </dsp:sp>
    <dsp:sp modelId="{CD6556C9-6CE7-C945-9E8F-2D991893DB36}">
      <dsp:nvSpPr>
        <dsp:cNvPr id="0" name=""/>
        <dsp:cNvSpPr/>
      </dsp:nvSpPr>
      <dsp:spPr>
        <a:xfrm>
          <a:off x="0" y="1144470"/>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CE37C55-DA02-0548-9742-9D846EB490E2}">
      <dsp:nvSpPr>
        <dsp:cNvPr id="0" name=""/>
        <dsp:cNvSpPr/>
      </dsp:nvSpPr>
      <dsp:spPr>
        <a:xfrm>
          <a:off x="0" y="1144470"/>
          <a:ext cx="3048000" cy="57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What’s excluded?</a:t>
          </a:r>
        </a:p>
      </dsp:txBody>
      <dsp:txXfrm>
        <a:off x="0" y="1144470"/>
        <a:ext cx="3048000" cy="572060"/>
      </dsp:txXfrm>
    </dsp:sp>
    <dsp:sp modelId="{9423243A-E4B3-AC47-84F6-A7CAC19942E7}">
      <dsp:nvSpPr>
        <dsp:cNvPr id="0" name=""/>
        <dsp:cNvSpPr/>
      </dsp:nvSpPr>
      <dsp:spPr>
        <a:xfrm>
          <a:off x="0" y="1716531"/>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C7AA8E6E-32B3-4A4E-BDBB-4B0A6FEF3817}">
      <dsp:nvSpPr>
        <dsp:cNvPr id="0" name=""/>
        <dsp:cNvSpPr/>
      </dsp:nvSpPr>
      <dsp:spPr>
        <a:xfrm>
          <a:off x="0" y="1716531"/>
          <a:ext cx="3048000" cy="57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Limitations</a:t>
          </a:r>
        </a:p>
      </dsp:txBody>
      <dsp:txXfrm>
        <a:off x="0" y="1716531"/>
        <a:ext cx="3048000" cy="572060"/>
      </dsp:txXfrm>
    </dsp:sp>
    <dsp:sp modelId="{16D167DE-5AF1-5845-8305-E2F21F213BFA}">
      <dsp:nvSpPr>
        <dsp:cNvPr id="0" name=""/>
        <dsp:cNvSpPr/>
      </dsp:nvSpPr>
      <dsp:spPr>
        <a:xfrm>
          <a:off x="0" y="2288592"/>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0788F49-C3A0-2940-BFCD-193B65F3210B}">
      <dsp:nvSpPr>
        <dsp:cNvPr id="0" name=""/>
        <dsp:cNvSpPr/>
      </dsp:nvSpPr>
      <dsp:spPr>
        <a:xfrm>
          <a:off x="0" y="2288592"/>
          <a:ext cx="3048000" cy="572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2016 - 2019 </a:t>
          </a:r>
        </a:p>
      </dsp:txBody>
      <dsp:txXfrm>
        <a:off x="0" y="2288592"/>
        <a:ext cx="3048000" cy="57206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3</a:t>
          </a:r>
        </a:p>
      </dsp:txBody>
      <dsp:txXfrm>
        <a:off x="179383" y="198196"/>
        <a:ext cx="866141" cy="8661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FF1E1-38B6-3140-B079-CAF7B1E7AE87}">
      <dsp:nvSpPr>
        <dsp:cNvPr id="0" name=""/>
        <dsp:cNvSpPr/>
      </dsp:nvSpPr>
      <dsp:spPr>
        <a:xfrm>
          <a:off x="0" y="0"/>
          <a:ext cx="44782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6544C07-1350-B24E-A64C-0BE3649C332E}">
      <dsp:nvSpPr>
        <dsp:cNvPr id="0" name=""/>
        <dsp:cNvSpPr/>
      </dsp:nvSpPr>
      <dsp:spPr>
        <a:xfrm>
          <a:off x="0" y="0"/>
          <a:ext cx="1251865" cy="46248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How to</a:t>
          </a:r>
        </a:p>
      </dsp:txBody>
      <dsp:txXfrm>
        <a:off x="0" y="0"/>
        <a:ext cx="1251865" cy="4624815"/>
      </dsp:txXfrm>
    </dsp:sp>
    <dsp:sp modelId="{575AA55E-93D8-744F-A7CA-B9EDC3BBCC22}">
      <dsp:nvSpPr>
        <dsp:cNvPr id="0" name=""/>
        <dsp:cNvSpPr/>
      </dsp:nvSpPr>
      <dsp:spPr>
        <a:xfrm>
          <a:off x="1312347" y="36413"/>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Open T1 &gt; Save as</a:t>
          </a:r>
        </a:p>
      </dsp:txBody>
      <dsp:txXfrm>
        <a:off x="1312347" y="36413"/>
        <a:ext cx="3165227" cy="728272"/>
      </dsp:txXfrm>
    </dsp:sp>
    <dsp:sp modelId="{4674C036-8D4D-614F-B420-9C25F56E712D}">
      <dsp:nvSpPr>
        <dsp:cNvPr id="0" name=""/>
        <dsp:cNvSpPr/>
      </dsp:nvSpPr>
      <dsp:spPr>
        <a:xfrm>
          <a:off x="1251865" y="764686"/>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6834077-89AD-D147-94FB-B441270E8034}">
      <dsp:nvSpPr>
        <dsp:cNvPr id="0" name=""/>
        <dsp:cNvSpPr/>
      </dsp:nvSpPr>
      <dsp:spPr>
        <a:xfrm>
          <a:off x="1312347" y="801100"/>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Amend T1</a:t>
          </a:r>
        </a:p>
      </dsp:txBody>
      <dsp:txXfrm>
        <a:off x="1312347" y="801100"/>
        <a:ext cx="3165227" cy="728272"/>
      </dsp:txXfrm>
    </dsp:sp>
    <dsp:sp modelId="{AF449373-9210-0E49-9C8D-F79088B2922A}">
      <dsp:nvSpPr>
        <dsp:cNvPr id="0" name=""/>
        <dsp:cNvSpPr/>
      </dsp:nvSpPr>
      <dsp:spPr>
        <a:xfrm>
          <a:off x="1251865" y="1529373"/>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AF45A721-B53C-FC46-92D2-5C90A65FDE45}">
      <dsp:nvSpPr>
        <dsp:cNvPr id="0" name=""/>
        <dsp:cNvSpPr/>
      </dsp:nvSpPr>
      <dsp:spPr>
        <a:xfrm>
          <a:off x="1312347" y="1565786"/>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F4 &gt; T1Refile</a:t>
          </a:r>
        </a:p>
      </dsp:txBody>
      <dsp:txXfrm>
        <a:off x="1312347" y="1565786"/>
        <a:ext cx="3165227" cy="728272"/>
      </dsp:txXfrm>
    </dsp:sp>
    <dsp:sp modelId="{4E21421A-1A3B-DF48-BEF4-9C8CE9AAFF75}">
      <dsp:nvSpPr>
        <dsp:cNvPr id="0" name=""/>
        <dsp:cNvSpPr/>
      </dsp:nvSpPr>
      <dsp:spPr>
        <a:xfrm>
          <a:off x="1251865" y="2294059"/>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1943DF83-01FC-C846-BF80-909C1F7086D5}">
      <dsp:nvSpPr>
        <dsp:cNvPr id="0" name=""/>
        <dsp:cNvSpPr/>
      </dsp:nvSpPr>
      <dsp:spPr>
        <a:xfrm>
          <a:off x="1312347" y="2330473"/>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Signed T183</a:t>
          </a:r>
        </a:p>
      </dsp:txBody>
      <dsp:txXfrm>
        <a:off x="1312347" y="2330473"/>
        <a:ext cx="3165227" cy="728272"/>
      </dsp:txXfrm>
    </dsp:sp>
    <dsp:sp modelId="{6FCC9137-03F3-264B-9CA4-1300FE6DEA9B}">
      <dsp:nvSpPr>
        <dsp:cNvPr id="0" name=""/>
        <dsp:cNvSpPr/>
      </dsp:nvSpPr>
      <dsp:spPr>
        <a:xfrm>
          <a:off x="1251865" y="3058746"/>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7800F958-BCD4-A64F-862E-A7FEAE4D934A}">
      <dsp:nvSpPr>
        <dsp:cNvPr id="0" name=""/>
        <dsp:cNvSpPr/>
      </dsp:nvSpPr>
      <dsp:spPr>
        <a:xfrm>
          <a:off x="1312347" y="3095159"/>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Want to Refile like you EFILE?</a:t>
          </a:r>
        </a:p>
      </dsp:txBody>
      <dsp:txXfrm>
        <a:off x="1312347" y="3095159"/>
        <a:ext cx="3165227" cy="728272"/>
      </dsp:txXfrm>
    </dsp:sp>
    <dsp:sp modelId="{77CABED2-3AC0-BC49-BC30-232C9425E40D}">
      <dsp:nvSpPr>
        <dsp:cNvPr id="0" name=""/>
        <dsp:cNvSpPr/>
      </dsp:nvSpPr>
      <dsp:spPr>
        <a:xfrm>
          <a:off x="1251865" y="3823432"/>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BFC9378B-CF8D-F748-93CC-9C1C377AE399}">
      <dsp:nvSpPr>
        <dsp:cNvPr id="0" name=""/>
        <dsp:cNvSpPr/>
      </dsp:nvSpPr>
      <dsp:spPr>
        <a:xfrm>
          <a:off x="1312347" y="3859846"/>
          <a:ext cx="3165227" cy="7282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rtl="0">
            <a:lnSpc>
              <a:spcPct val="90000"/>
            </a:lnSpc>
            <a:spcBef>
              <a:spcPct val="0"/>
            </a:spcBef>
            <a:spcAft>
              <a:spcPct val="35000"/>
            </a:spcAft>
            <a:buNone/>
          </a:pPr>
          <a:r>
            <a:rPr lang="en-CA" sz="2100" kern="1200" dirty="0"/>
            <a:t>Info Page &gt; ReFile confirmation</a:t>
          </a:r>
        </a:p>
      </dsp:txBody>
      <dsp:txXfrm>
        <a:off x="1312347" y="3859846"/>
        <a:ext cx="3165227" cy="728272"/>
      </dsp:txXfrm>
    </dsp:sp>
    <dsp:sp modelId="{220DE6F9-6155-0145-8106-FFB88146287E}">
      <dsp:nvSpPr>
        <dsp:cNvPr id="0" name=""/>
        <dsp:cNvSpPr/>
      </dsp:nvSpPr>
      <dsp:spPr>
        <a:xfrm>
          <a:off x="1219189" y="4624815"/>
          <a:ext cx="322570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canada.ca/en/revenue-agency/services/forms-publications/forms/t1-t1-adj.html"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B19A31D-4D4F-47CE-9926-B2771FC72306}" type="slidenum">
              <a:rPr lang="en-US" smtClean="0"/>
              <a:t>1</a:t>
            </a:fld>
            <a:endParaRPr lang="en-US"/>
          </a:p>
        </p:txBody>
      </p:sp>
    </p:spTree>
    <p:extLst>
      <p:ext uri="{BB962C8B-B14F-4D97-AF65-F5344CB8AC3E}">
        <p14:creationId xmlns:p14="http://schemas.microsoft.com/office/powerpoint/2010/main" val="1438533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troduce </a:t>
            </a:r>
            <a:r>
              <a:rPr lang="en-US" baseline="0" dirty="0" err="1"/>
              <a:t>ReFile</a:t>
            </a:r>
            <a:r>
              <a:rPr lang="en-US" baseline="0" dirty="0"/>
              <a:t> at page 12</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752958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err="1"/>
              <a:t>xMention</a:t>
            </a:r>
            <a:r>
              <a:rPr lang="en-US" baseline="0" dirty="0"/>
              <a:t> that the image on left is discussed at Pp 13</a:t>
            </a:r>
          </a:p>
          <a:p>
            <a:endParaRPr lang="en-US" baseline="0" dirty="0"/>
          </a:p>
          <a:p>
            <a:r>
              <a:rPr lang="en-US" baseline="0" dirty="0"/>
              <a:t>MENTION 2015 AND 2016 ONLY</a:t>
            </a:r>
          </a:p>
          <a:p>
            <a:endParaRPr lang="en-US" baseline="0" dirty="0"/>
          </a:p>
          <a:p>
            <a:r>
              <a:rPr lang="en-US" baseline="0" dirty="0"/>
              <a:t>Discuss the scope, limitations and exclusions, and demo how to </a:t>
            </a:r>
            <a:r>
              <a:rPr lang="en-US" baseline="0" dirty="0" err="1"/>
              <a:t>ReFile</a:t>
            </a:r>
            <a:r>
              <a:rPr lang="en-US" baseline="0" dirty="0"/>
              <a:t> a T1</a:t>
            </a:r>
          </a:p>
          <a:p>
            <a:r>
              <a:rPr lang="en-US" b="1" baseline="0" dirty="0"/>
              <a:t>PER CRA’S WEBSITE</a:t>
            </a:r>
          </a:p>
          <a:p>
            <a:r>
              <a:rPr lang="en-US" sz="1200" b="0" i="0" kern="1200" dirty="0">
                <a:solidFill>
                  <a:schemeClr val="tx1"/>
                </a:solidFill>
                <a:effectLst/>
                <a:latin typeface="+mn-lt"/>
                <a:ea typeface="+mn-ea"/>
                <a:cs typeface="+mn-cs"/>
              </a:rPr>
              <a:t>The online system accepts only </a:t>
            </a:r>
            <a:r>
              <a:rPr lang="en-US" sz="1200" b="1" i="0" kern="1200" dirty="0">
                <a:solidFill>
                  <a:schemeClr val="tx1"/>
                </a:solidFill>
                <a:effectLst/>
                <a:latin typeface="+mn-lt"/>
                <a:ea typeface="+mn-ea"/>
                <a:cs typeface="+mn-cs"/>
              </a:rPr>
              <a:t>nine</a:t>
            </a:r>
            <a:r>
              <a:rPr lang="en-US" sz="1200" b="0" i="0" kern="1200" dirty="0">
                <a:solidFill>
                  <a:schemeClr val="tx1"/>
                </a:solidFill>
                <a:effectLst/>
                <a:latin typeface="+mn-lt"/>
                <a:ea typeface="+mn-ea"/>
                <a:cs typeface="+mn-cs"/>
              </a:rPr>
              <a:t> adjustments per tax year for each taxpayer, whether the taxpayer or you or the CRA initiates the adjustments. If you go over the limit, you will get an automated response saying the limit has been reached and explaining how to send a paper request. Make additional requests on paper, preferably using </a:t>
            </a:r>
            <a:r>
              <a:rPr lang="en-US" sz="1200" b="0" i="0" u="sng" kern="1200" dirty="0">
                <a:solidFill>
                  <a:schemeClr val="tx1"/>
                </a:solidFill>
                <a:effectLst/>
                <a:latin typeface="+mn-lt"/>
                <a:ea typeface="+mn-ea"/>
                <a:cs typeface="+mn-cs"/>
                <a:hlinkClick r:id="rId3"/>
              </a:rPr>
              <a:t>Form T1-ADJ, T1 Adjustment Request</a:t>
            </a:r>
            <a:r>
              <a:rPr lang="en-US" sz="1200" b="0" i="0" kern="1200" dirty="0">
                <a:solidFill>
                  <a:schemeClr val="tx1"/>
                </a:solidFill>
                <a:effectLst/>
                <a:latin typeface="+mn-lt"/>
                <a:ea typeface="+mn-ea"/>
                <a:cs typeface="+mn-cs"/>
              </a:rPr>
              <a:t>, and mail them to the CRA.</a:t>
            </a:r>
          </a:p>
          <a:p>
            <a:br>
              <a:rPr lang="en-US" dirty="0"/>
            </a:b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371830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tailed steps start at Pg15</a:t>
            </a:r>
          </a:p>
          <a:p>
            <a:pPr marL="171450" indent="-171450">
              <a:buFontTx/>
              <a:buChar char="-"/>
            </a:pPr>
            <a:r>
              <a:rPr lang="en-US" baseline="0" dirty="0"/>
              <a:t>Open existing return and Save As</a:t>
            </a:r>
          </a:p>
          <a:p>
            <a:pPr marL="171450" indent="-171450">
              <a:buFontTx/>
              <a:buChar char="-"/>
            </a:pPr>
            <a:r>
              <a:rPr lang="en-US" baseline="0" dirty="0"/>
              <a:t>Make changes to tax file as required</a:t>
            </a:r>
          </a:p>
          <a:p>
            <a:pPr marL="171450" indent="-171450">
              <a:buFontTx/>
              <a:buChar char="-"/>
            </a:pPr>
            <a:r>
              <a:rPr lang="en-US" baseline="0" dirty="0"/>
              <a:t>Open </a:t>
            </a:r>
            <a:r>
              <a:rPr lang="en-US" baseline="0" dirty="0" err="1"/>
              <a:t>ReFile</a:t>
            </a:r>
            <a:r>
              <a:rPr lang="en-US" baseline="0" dirty="0"/>
              <a:t> Form (F4 &gt; T1Refile) </a:t>
            </a:r>
          </a:p>
          <a:p>
            <a:pPr marL="171450" indent="-171450">
              <a:buFontTx/>
              <a:buChar char="-"/>
            </a:pPr>
            <a:r>
              <a:rPr lang="en-US" baseline="0" dirty="0"/>
              <a:t>Ensure SIN is indicated</a:t>
            </a:r>
          </a:p>
          <a:p>
            <a:pPr marL="171450" indent="-171450">
              <a:buFontTx/>
              <a:buChar char="-"/>
            </a:pPr>
            <a:r>
              <a:rPr lang="en-US" baseline="0" dirty="0"/>
              <a:t>Enter current date in date field</a:t>
            </a:r>
          </a:p>
          <a:p>
            <a:pPr marL="171450" indent="-171450">
              <a:buFontTx/>
              <a:buChar char="-"/>
            </a:pPr>
            <a:r>
              <a:rPr lang="en-US" baseline="0" dirty="0"/>
              <a:t>Check the Box to indicate Amended Return</a:t>
            </a:r>
          </a:p>
          <a:p>
            <a:pPr marL="171450" indent="-171450">
              <a:buFontTx/>
              <a:buChar char="-"/>
            </a:pPr>
            <a:r>
              <a:rPr lang="en-US" baseline="0" dirty="0"/>
              <a:t>Go through form questions at bottom of Page</a:t>
            </a:r>
          </a:p>
          <a:p>
            <a:pPr marL="171450" indent="-171450">
              <a:buFontTx/>
              <a:buChar char="-"/>
            </a:pPr>
            <a:r>
              <a:rPr lang="en-US" baseline="0" dirty="0"/>
              <a:t>Open T183</a:t>
            </a:r>
          </a:p>
          <a:p>
            <a:pPr marL="171450" indent="-171450">
              <a:buFontTx/>
              <a:buChar char="-"/>
            </a:pPr>
            <a:r>
              <a:rPr lang="en-US" baseline="0" dirty="0"/>
              <a:t>Notice the R net to the tax year at top right</a:t>
            </a:r>
          </a:p>
          <a:p>
            <a:pPr marL="171450" indent="-171450">
              <a:buFontTx/>
              <a:buChar char="-"/>
            </a:pPr>
            <a:r>
              <a:rPr lang="en-US" baseline="0" dirty="0"/>
              <a:t>Check the “Want to REFILE like you EFILE) Box </a:t>
            </a:r>
          </a:p>
          <a:p>
            <a:pPr marL="171450" indent="-171450">
              <a:buFontTx/>
              <a:buChar char="-"/>
            </a:pPr>
            <a:r>
              <a:rPr lang="en-US" baseline="0" dirty="0"/>
              <a:t>OBTAIN SIGNATURE ON THE NEW T183 </a:t>
            </a:r>
          </a:p>
          <a:p>
            <a:pPr marL="171450" indent="-171450">
              <a:buFontTx/>
              <a:buChar char="-"/>
            </a:pPr>
            <a:r>
              <a:rPr lang="en-US" baseline="0" dirty="0"/>
              <a:t>Go to INFO Page and Point to REFILE </a:t>
            </a:r>
            <a:r>
              <a:rPr lang="en-US" baseline="0" dirty="0" err="1"/>
              <a:t>cofirmation</a:t>
            </a:r>
            <a:endParaRPr lang="en-US" baseline="0" dirty="0"/>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1071744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5 and discuss how everything’s going online</a:t>
            </a:r>
          </a:p>
          <a:p>
            <a:endParaRPr lang="en-US" baseline="0" dirty="0"/>
          </a:p>
          <a:p>
            <a:r>
              <a:rPr lang="en-CA" sz="1200" kern="1200" dirty="0">
                <a:solidFill>
                  <a:schemeClr val="tx1"/>
                </a:solidFill>
                <a:effectLst/>
                <a:latin typeface="+mn-lt"/>
                <a:ea typeface="+mn-ea"/>
                <a:cs typeface="+mn-cs"/>
              </a:rPr>
              <a:t>Every day, more and more businesses are taking things online. Online stores; online information; online payments; online communication—all are part of our everyday lives. It should come as no surprise, then, that tax preparers too are increasingly using cloud tools. Canada Revenue Agency, for example, demands that tax preparers EFILE tax returns and, at the same time, with a dedicated </a:t>
            </a:r>
            <a:r>
              <a:rPr lang="en-CA" sz="1200" i="1" kern="1200" dirty="0">
                <a:solidFill>
                  <a:schemeClr val="tx1"/>
                </a:solidFill>
                <a:effectLst/>
                <a:latin typeface="+mn-lt"/>
                <a:ea typeface="+mn-ea"/>
                <a:cs typeface="+mn-cs"/>
              </a:rPr>
              <a:t>Represent a Client</a:t>
            </a:r>
            <a:r>
              <a:rPr lang="en-CA" sz="1200" kern="1200" dirty="0">
                <a:solidFill>
                  <a:schemeClr val="tx1"/>
                </a:solidFill>
                <a:effectLst/>
                <a:latin typeface="+mn-lt"/>
                <a:ea typeface="+mn-ea"/>
                <a:cs typeface="+mn-cs"/>
              </a:rPr>
              <a:t> account, CRA gives tax preparers online access to an array of client information that was unthinkable just a few short years ago. ProFile is accentuating this cloud trend as well. As a ProFile user, you have access to an increasing number of cloud tools. </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s 5-9 and describe the icons on the online toolbar</a:t>
            </a:r>
          </a:p>
          <a:p>
            <a:endParaRPr lang="en-US" baseline="0" dirty="0"/>
          </a:p>
          <a:p>
            <a:r>
              <a:rPr lang="en-US" baseline="0" dirty="0"/>
              <a:t>Point out how to </a:t>
            </a:r>
            <a:r>
              <a:rPr lang="en-US" b="1" u="sng" baseline="0" dirty="0"/>
              <a:t>create and/or access</a:t>
            </a:r>
            <a:r>
              <a:rPr lang="en-US" baseline="0" dirty="0"/>
              <a:t>  your online account - Pp 8-9</a:t>
            </a:r>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949581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Refer to page 9 and introduce CRA’s AFR</a:t>
            </a:r>
          </a:p>
          <a:p>
            <a:endParaRPr lang="en-US" baseline="0" dirty="0"/>
          </a:p>
          <a:p>
            <a:r>
              <a:rPr lang="en-CA" sz="1200" kern="1200" dirty="0">
                <a:solidFill>
                  <a:schemeClr val="tx1"/>
                </a:solidFill>
                <a:effectLst/>
                <a:latin typeface="+mn-lt"/>
                <a:ea typeface="+mn-ea"/>
                <a:cs typeface="+mn-cs"/>
              </a:rPr>
              <a:t>AutoFill My Return (AFR) is a secure Canada Revenue Agency (CRA) service that allows individuals and authorized representatives to automatically fill-in parts of a T1 return with information that the CRA has available at the time of filing the return. Many authorized representatives are already accessing CRA’s online services to gather client information. AFR is the logical next step. By filling in key tax data, CRA’s AFR simplifies the tax preparation process</a:t>
            </a:r>
            <a:r>
              <a:rPr lang="en-US" dirty="0">
                <a:effectLst/>
              </a:rPr>
              <a:t> </a:t>
            </a:r>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785087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9 and mention what AFR does and how you use it</a:t>
            </a:r>
          </a:p>
          <a:p>
            <a:endParaRPr lang="en-US" baseline="0" dirty="0"/>
          </a:p>
          <a:p>
            <a:r>
              <a:rPr lang="en-US" baseline="0" dirty="0"/>
              <a:t>Mention the requirements</a:t>
            </a:r>
          </a:p>
          <a:p>
            <a:pPr marL="171450" indent="-171450">
              <a:buFontTx/>
              <a:buChar char="-"/>
            </a:pPr>
            <a:r>
              <a:rPr lang="en-US" baseline="0" dirty="0"/>
              <a:t>Must be an authorized representative (Represent a Client ID and password)</a:t>
            </a:r>
          </a:p>
          <a:p>
            <a:pPr marL="171450" indent="-171450">
              <a:buFontTx/>
              <a:buChar char="-"/>
            </a:pPr>
            <a:r>
              <a:rPr lang="en-US" baseline="0" dirty="0"/>
              <a:t>T1013</a:t>
            </a:r>
          </a:p>
          <a:p>
            <a:endParaRPr lang="en-US" baseline="0" dirty="0"/>
          </a:p>
          <a:p>
            <a:r>
              <a:rPr lang="en-US" baseline="0" dirty="0"/>
              <a:t>Refer to Page 10 that describes how to launch AFR</a:t>
            </a:r>
          </a:p>
          <a:p>
            <a:r>
              <a:rPr lang="en-US" baseline="0" dirty="0"/>
              <a:t>Go to File &gt; Import CRA Data</a:t>
            </a:r>
          </a:p>
          <a:p>
            <a:r>
              <a:rPr lang="en-US" baseline="0" dirty="0"/>
              <a:t>Click &gt; Launch CRA Website</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225772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ese images are duplicated at Pages 11-12</a:t>
            </a:r>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0199301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ese images are duplicated at Pages 11-12</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5676979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ese images are duplicated starting on Page 12</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0827572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3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1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diagramLayout" Target="../diagrams/layout8.xml"/><Relationship Id="rId3" Type="http://schemas.openxmlformats.org/officeDocument/2006/relationships/diagramData" Target="../diagrams/data7.xml"/><Relationship Id="rId7" Type="http://schemas.microsoft.com/office/2007/relationships/diagramDrawing" Target="../diagrams/drawing7.xml"/><Relationship Id="rId12" Type="http://schemas.openxmlformats.org/officeDocument/2006/relationships/diagramData" Target="../diagrams/data8.xml"/><Relationship Id="rId2" Type="http://schemas.openxmlformats.org/officeDocument/2006/relationships/notesSlide" Target="../notesSlides/notesSlide11.xml"/><Relationship Id="rId16" Type="http://schemas.microsoft.com/office/2007/relationships/diagramDrawing" Target="../diagrams/drawing8.xml"/><Relationship Id="rId1" Type="http://schemas.openxmlformats.org/officeDocument/2006/relationships/slideLayout" Target="../slideLayouts/slideLayout1.xml"/><Relationship Id="rId6" Type="http://schemas.openxmlformats.org/officeDocument/2006/relationships/diagramColors" Target="../diagrams/colors7.xml"/><Relationship Id="rId11" Type="http://schemas.openxmlformats.org/officeDocument/2006/relationships/image" Target="../media/image19.png"/><Relationship Id="rId5" Type="http://schemas.openxmlformats.org/officeDocument/2006/relationships/diagramQuickStyle" Target="../diagrams/quickStyle7.xml"/><Relationship Id="rId15" Type="http://schemas.openxmlformats.org/officeDocument/2006/relationships/diagramColors" Target="../diagrams/colors8.xml"/><Relationship Id="rId10" Type="http://schemas.openxmlformats.org/officeDocument/2006/relationships/image" Target="../media/image18.png"/><Relationship Id="rId4" Type="http://schemas.openxmlformats.org/officeDocument/2006/relationships/diagramLayout" Target="../diagrams/layout7.xml"/><Relationship Id="rId9" Type="http://schemas.openxmlformats.org/officeDocument/2006/relationships/image" Target="../media/image17.png"/><Relationship Id="rId14" Type="http://schemas.openxmlformats.org/officeDocument/2006/relationships/diagramQuickStyle" Target="../diagrams/quickStyle8.xml"/></Relationships>
</file>

<file path=ppt/slides/_rels/slide13.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20.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diagramColors" Target="../diagrams/colors2.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diagramQuickStyle" Target="../diagrams/quickStyle2.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Layout" Target="../diagrams/layout2.xml"/><Relationship Id="rId5" Type="http://schemas.openxmlformats.org/officeDocument/2006/relationships/diagramQuickStyle" Target="../diagrams/quickStyle1.xml"/><Relationship Id="rId10" Type="http://schemas.openxmlformats.org/officeDocument/2006/relationships/diagramData" Target="../diagrams/data2.xml"/><Relationship Id="rId4" Type="http://schemas.openxmlformats.org/officeDocument/2006/relationships/diagramLayout" Target="../diagrams/layout1.xml"/><Relationship Id="rId9" Type="http://schemas.openxmlformats.org/officeDocument/2006/relationships/image" Target="../media/image8.png"/><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image" Target="../media/image9.png"/><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10.png"/><Relationship Id="rId7" Type="http://schemas.openxmlformats.org/officeDocument/2006/relationships/diagramQuickStyle" Target="../diagrams/quickStyle5.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11.png"/><Relationship Id="rId9" Type="http://schemas.microsoft.com/office/2007/relationships/diagramDrawing" Target="../diagrams/drawing5.xml"/></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7012" y="6126262"/>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6212" y="2108200"/>
            <a:ext cx="4987784" cy="3733800"/>
          </a:xfrm>
          <a:prstGeom prst="rect">
            <a:avLst/>
          </a:prstGeom>
        </p:spPr>
      </p:pic>
    </p:spTree>
    <p:extLst>
      <p:ext uri="{BB962C8B-B14F-4D97-AF65-F5344CB8AC3E}">
        <p14:creationId xmlns:p14="http://schemas.microsoft.com/office/powerpoint/2010/main" val="822412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ReFile</a:t>
            </a:r>
          </a:p>
        </p:txBody>
      </p:sp>
      <p:graphicFrame>
        <p:nvGraphicFramePr>
          <p:cNvPr id="5" name="Diagram 4">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421577640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8193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ReFile</a:t>
            </a:r>
          </a:p>
        </p:txBody>
      </p:sp>
      <p:graphicFrame>
        <p:nvGraphicFramePr>
          <p:cNvPr id="9" name="Diagram 8"/>
          <p:cNvGraphicFramePr/>
          <p:nvPr>
            <p:extLst>
              <p:ext uri="{D42A27DB-BD31-4B8C-83A1-F6EECF244321}">
                <p14:modId xmlns:p14="http://schemas.microsoft.com/office/powerpoint/2010/main" val="2819731832"/>
              </p:ext>
            </p:extLst>
          </p:nvPr>
        </p:nvGraphicFramePr>
        <p:xfrm>
          <a:off x="8609012" y="2472998"/>
          <a:ext cx="3048000" cy="28610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0812" y="457200"/>
            <a:ext cx="8077200" cy="1553000"/>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50812" y="2209800"/>
            <a:ext cx="8077200" cy="2347927"/>
          </a:xfrm>
          <a:prstGeom prst="rect">
            <a:avLst/>
          </a:prstGeom>
        </p:spPr>
      </p:pic>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9704" y="4880644"/>
            <a:ext cx="8048308" cy="1493846"/>
          </a:xfrm>
          <a:prstGeom prst="rect">
            <a:avLst/>
          </a:prstGeom>
        </p:spPr>
      </p:pic>
      <p:graphicFrame>
        <p:nvGraphicFramePr>
          <p:cNvPr id="10" name="Diagram 9">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701680259"/>
              </p:ext>
            </p:extLst>
          </p:nvPr>
        </p:nvGraphicFramePr>
        <p:xfrm>
          <a:off x="5027612" y="5595465"/>
          <a:ext cx="1224907" cy="126253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991878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 email&#10;&#10;Description automatically generated">
            <a:extLst>
              <a:ext uri="{FF2B5EF4-FFF2-40B4-BE49-F238E27FC236}">
                <a16:creationId xmlns:a16="http://schemas.microsoft.com/office/drawing/2014/main" id="{CAD5513E-ACD4-A548-A5A7-B056089D5875}"/>
              </a:ext>
            </a:extLst>
          </p:cNvPr>
          <p:cNvPicPr>
            <a:picLocks noChangeAspect="1"/>
          </p:cNvPicPr>
          <p:nvPr/>
        </p:nvPicPr>
        <p:blipFill>
          <a:blip r:embed="rId3"/>
          <a:stretch>
            <a:fillRect/>
          </a:stretch>
        </p:blipFill>
        <p:spPr>
          <a:xfrm>
            <a:off x="836612" y="1354781"/>
            <a:ext cx="6350953" cy="4624816"/>
          </a:xfrm>
          <a:prstGeom prst="rect">
            <a:avLst/>
          </a:prstGeom>
        </p:spPr>
      </p:pic>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ReFile</a:t>
            </a:r>
          </a:p>
        </p:txBody>
      </p:sp>
      <p:graphicFrame>
        <p:nvGraphicFramePr>
          <p:cNvPr id="9" name="Diagram 8"/>
          <p:cNvGraphicFramePr/>
          <p:nvPr>
            <p:extLst>
              <p:ext uri="{D42A27DB-BD31-4B8C-83A1-F6EECF244321}">
                <p14:modId xmlns:p14="http://schemas.microsoft.com/office/powerpoint/2010/main" val="2873690028"/>
              </p:ext>
            </p:extLst>
          </p:nvPr>
        </p:nvGraphicFramePr>
        <p:xfrm>
          <a:off x="7255691" y="1116592"/>
          <a:ext cx="4478209" cy="46248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167254320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70640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3691700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6</a:t>
            </a:r>
            <a:br>
              <a:rPr lang="en-US" sz="5400" dirty="0"/>
            </a:br>
            <a:r>
              <a:rPr lang="en-US" sz="5400" dirty="0"/>
              <a:t>An Online World</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1600545-3A5E-DA49-A8E1-AB8250D9E138}"/>
              </a:ext>
            </a:extLst>
          </p:cNvPr>
          <p:cNvPicPr>
            <a:picLocks noChangeAspect="1"/>
          </p:cNvPicPr>
          <p:nvPr/>
        </p:nvPicPr>
        <p:blipFill>
          <a:blip r:embed="rId3"/>
          <a:stretch>
            <a:fillRect/>
          </a:stretch>
        </p:blipFill>
        <p:spPr>
          <a:xfrm>
            <a:off x="608012" y="1752600"/>
            <a:ext cx="5270500" cy="41402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a:t>an online world</a:t>
            </a:r>
          </a:p>
        </p:txBody>
      </p:sp>
    </p:spTree>
    <p:extLst>
      <p:ext uri="{BB962C8B-B14F-4D97-AF65-F5344CB8AC3E}">
        <p14:creationId xmlns:p14="http://schemas.microsoft.com/office/powerpoint/2010/main" val="648785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2143678" cy="734122"/>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n online world</a:t>
            </a:r>
          </a:p>
        </p:txBody>
      </p:sp>
      <p:graphicFrame>
        <p:nvGraphicFramePr>
          <p:cNvPr id="9" name="Diagram 8"/>
          <p:cNvGraphicFramePr/>
          <p:nvPr>
            <p:extLst>
              <p:ext uri="{D42A27DB-BD31-4B8C-83A1-F6EECF244321}">
                <p14:modId xmlns:p14="http://schemas.microsoft.com/office/powerpoint/2010/main" val="3279578120"/>
              </p:ext>
            </p:extLst>
          </p:nvPr>
        </p:nvGraphicFramePr>
        <p:xfrm>
          <a:off x="7008812" y="2057400"/>
          <a:ext cx="4038600" cy="2743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2132012" y="1447800"/>
            <a:ext cx="3328206" cy="1100868"/>
          </a:xfrm>
          <a:prstGeom prst="rect">
            <a:avLst/>
          </a:prstGeom>
        </p:spPr>
      </p:pic>
      <p:pic>
        <p:nvPicPr>
          <p:cNvPr id="3" name="Picture 2"/>
          <p:cNvPicPr>
            <a:picLocks noChangeAspect="1"/>
          </p:cNvPicPr>
          <p:nvPr/>
        </p:nvPicPr>
        <p:blipFill>
          <a:blip r:embed="rId9"/>
          <a:stretch>
            <a:fillRect/>
          </a:stretch>
        </p:blipFill>
        <p:spPr>
          <a:xfrm>
            <a:off x="1532963" y="2548668"/>
            <a:ext cx="4585261" cy="3337016"/>
          </a:xfrm>
          <a:prstGeom prst="rect">
            <a:avLst/>
          </a:prstGeom>
        </p:spPr>
      </p:pic>
      <p:cxnSp>
        <p:nvCxnSpPr>
          <p:cNvPr id="10" name="Connector: Elbow 9">
            <a:extLst>
              <a:ext uri="{FF2B5EF4-FFF2-40B4-BE49-F238E27FC236}">
                <a16:creationId xmlns:a16="http://schemas.microsoft.com/office/drawing/2014/main" id="{AF4F9FDE-233C-4903-AD32-F4A02F80691D}"/>
              </a:ext>
            </a:extLst>
          </p:cNvPr>
          <p:cNvCxnSpPr/>
          <p:nvPr/>
        </p:nvCxnSpPr>
        <p:spPr>
          <a:xfrm rot="10800000">
            <a:off x="3022600" y="2654300"/>
            <a:ext cx="23812"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Diagram 14">
            <a:extLst>
              <a:ext uri="{FF2B5EF4-FFF2-40B4-BE49-F238E27FC236}">
                <a16:creationId xmlns:a16="http://schemas.microsoft.com/office/drawing/2014/main" id="{C1C6B8E8-AA55-45B9-9E94-C8296FF922DD}"/>
              </a:ext>
            </a:extLst>
          </p:cNvPr>
          <p:cNvGraphicFramePr/>
          <p:nvPr>
            <p:extLst>
              <p:ext uri="{D42A27DB-BD31-4B8C-83A1-F6EECF244321}">
                <p14:modId xmlns:p14="http://schemas.microsoft.com/office/powerpoint/2010/main" val="363339637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4217079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utofill my return</a:t>
            </a:r>
          </a:p>
        </p:txBody>
      </p:sp>
    </p:spTree>
    <p:extLst>
      <p:ext uri="{BB962C8B-B14F-4D97-AF65-F5344CB8AC3E}">
        <p14:creationId xmlns:p14="http://schemas.microsoft.com/office/powerpoint/2010/main" val="814915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a:stretch>
            <a:fillRect/>
          </a:stretch>
        </p:blipFill>
        <p:spPr>
          <a:xfrm>
            <a:off x="2513012" y="1035894"/>
            <a:ext cx="2652543" cy="5486400"/>
          </a:xfrm>
          <a:prstGeom prst="rect">
            <a:avLst/>
          </a:prstGeom>
        </p:spPr>
      </p:pic>
      <p:sp>
        <p:nvSpPr>
          <p:cNvPr id="4" name="Title 1"/>
          <p:cNvSpPr txBox="1">
            <a:spLocks/>
          </p:cNvSpPr>
          <p:nvPr/>
        </p:nvSpPr>
        <p:spPr>
          <a:xfrm>
            <a:off x="327025" y="6133127"/>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graphicFrame>
        <p:nvGraphicFramePr>
          <p:cNvPr id="5" name="Diagram 4"/>
          <p:cNvGraphicFramePr/>
          <p:nvPr>
            <p:extLst>
              <p:ext uri="{D42A27DB-BD31-4B8C-83A1-F6EECF244321}">
                <p14:modId xmlns:p14="http://schemas.microsoft.com/office/powerpoint/2010/main" val="1711078854"/>
              </p:ext>
            </p:extLst>
          </p:nvPr>
        </p:nvGraphicFramePr>
        <p:xfrm>
          <a:off x="5637212" y="1569938"/>
          <a:ext cx="5118100" cy="3530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6533DE3E-04EE-4FFF-A49E-431FB5530A62}"/>
              </a:ext>
            </a:extLst>
          </p:cNvPr>
          <p:cNvGraphicFramePr/>
          <p:nvPr>
            <p:extLst>
              <p:ext uri="{D42A27DB-BD31-4B8C-83A1-F6EECF244321}">
                <p14:modId xmlns:p14="http://schemas.microsoft.com/office/powerpoint/2010/main" val="126506931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618005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3213" y="6126262"/>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012" y="1459770"/>
            <a:ext cx="5186504" cy="3876833"/>
          </a:xfrm>
          <a:prstGeom prst="rect">
            <a:avLst/>
          </a:prstGeom>
          <a:ln>
            <a:solidFill>
              <a:schemeClr val="accent1"/>
            </a:solidFill>
          </a:ln>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46812" y="2338565"/>
            <a:ext cx="5410200" cy="3498355"/>
          </a:xfrm>
          <a:prstGeom prst="rect">
            <a:avLst/>
          </a:prstGeom>
          <a:ln>
            <a:solidFill>
              <a:schemeClr val="accent1"/>
            </a:solidFill>
          </a:ln>
        </p:spPr>
      </p:pic>
      <p:graphicFrame>
        <p:nvGraphicFramePr>
          <p:cNvPr id="8" name="Diagram 7">
            <a:extLst>
              <a:ext uri="{FF2B5EF4-FFF2-40B4-BE49-F238E27FC236}">
                <a16:creationId xmlns:a16="http://schemas.microsoft.com/office/drawing/2014/main" id="{4FA80D7B-0AC5-40F5-945F-ED5ADE1D1176}"/>
              </a:ext>
            </a:extLst>
          </p:cNvPr>
          <p:cNvGraphicFramePr/>
          <p:nvPr>
            <p:extLst>
              <p:ext uri="{D42A27DB-BD31-4B8C-83A1-F6EECF244321}">
                <p14:modId xmlns:p14="http://schemas.microsoft.com/office/powerpoint/2010/main" val="3722064601"/>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06018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 y="5867400"/>
            <a:ext cx="11885612"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tofill my return</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pic>
        <p:nvPicPr>
          <p:cNvPr id="3" name="Picture 2"/>
          <p:cNvPicPr>
            <a:picLocks noChangeAspect="1"/>
          </p:cNvPicPr>
          <p:nvPr/>
        </p:nvPicPr>
        <p:blipFill>
          <a:blip r:embed="rId4"/>
          <a:stretch>
            <a:fillRect/>
          </a:stretch>
        </p:blipFill>
        <p:spPr>
          <a:xfrm>
            <a:off x="5033962" y="3098800"/>
            <a:ext cx="2120900" cy="660400"/>
          </a:xfrm>
          <a:prstGeom prst="rect">
            <a:avLst/>
          </a:prstGeom>
        </p:spPr>
      </p:pic>
      <p:pic>
        <p:nvPicPr>
          <p:cNvPr id="5" name="Picture 4"/>
          <p:cNvPicPr>
            <a:picLocks noChangeAspect="1"/>
          </p:cNvPicPr>
          <p:nvPr/>
        </p:nvPicPr>
        <p:blipFill>
          <a:blip r:embed="rId5"/>
          <a:stretch>
            <a:fillRect/>
          </a:stretch>
        </p:blipFill>
        <p:spPr>
          <a:xfrm>
            <a:off x="608012" y="1528053"/>
            <a:ext cx="6042823" cy="3141493"/>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08812" y="2400370"/>
            <a:ext cx="4276746" cy="3274337"/>
          </a:xfrm>
          <a:prstGeom prst="rect">
            <a:avLst/>
          </a:prstGeom>
        </p:spPr>
      </p:pic>
    </p:spTree>
    <p:extLst>
      <p:ext uri="{BB962C8B-B14F-4D97-AF65-F5344CB8AC3E}">
        <p14:creationId xmlns:p14="http://schemas.microsoft.com/office/powerpoint/2010/main" val="750888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31</TotalTime>
  <Words>670</Words>
  <Application>Microsoft Macintosh PowerPoint</Application>
  <PresentationFormat>Custom</PresentationFormat>
  <Paragraphs>99</Paragraphs>
  <Slides>14</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6 An Online World</vt:lpstr>
      <vt:lpstr>PowerPoint Presentation</vt:lpstr>
      <vt:lpstr>an online world</vt:lpstr>
      <vt:lpstr>PowerPoint Presentation</vt:lpstr>
      <vt:lpstr>autofill my return</vt:lpstr>
      <vt:lpstr>PowerPoint Presentation</vt:lpstr>
      <vt:lpstr>PowerPoint Presentation</vt:lpstr>
      <vt:lpstr>PowerPoint Presentation</vt:lpstr>
      <vt:lpstr>PowerPoint Presentation</vt:lpstr>
      <vt:lpstr>ReFile</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26</cp:revision>
  <cp:lastPrinted>2017-01-10T23:11:41Z</cp:lastPrinted>
  <dcterms:created xsi:type="dcterms:W3CDTF">2014-09-11T15:23:46Z</dcterms:created>
  <dcterms:modified xsi:type="dcterms:W3CDTF">2020-12-13T17:39:30Z</dcterms:modified>
</cp:coreProperties>
</file>